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16" r:id="rId2"/>
  </p:sldMasterIdLst>
  <p:notesMasterIdLst>
    <p:notesMasterId r:id="rId27"/>
  </p:notesMasterIdLst>
  <p:sldIdLst>
    <p:sldId id="668" r:id="rId3"/>
    <p:sldId id="682" r:id="rId4"/>
    <p:sldId id="683" r:id="rId5"/>
    <p:sldId id="684" r:id="rId6"/>
    <p:sldId id="685" r:id="rId7"/>
    <p:sldId id="681" r:id="rId8"/>
    <p:sldId id="680" r:id="rId9"/>
    <p:sldId id="443" r:id="rId10"/>
    <p:sldId id="427" r:id="rId11"/>
    <p:sldId id="543" r:id="rId12"/>
    <p:sldId id="675" r:id="rId13"/>
    <p:sldId id="686" r:id="rId14"/>
    <p:sldId id="546" r:id="rId15"/>
    <p:sldId id="678" r:id="rId16"/>
    <p:sldId id="666" r:id="rId17"/>
    <p:sldId id="687" r:id="rId18"/>
    <p:sldId id="434" r:id="rId19"/>
    <p:sldId id="541" r:id="rId20"/>
    <p:sldId id="547" r:id="rId21"/>
    <p:sldId id="672" r:id="rId22"/>
    <p:sldId id="435" r:id="rId23"/>
    <p:sldId id="673" r:id="rId24"/>
    <p:sldId id="674" r:id="rId25"/>
    <p:sldId id="679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FF"/>
    <a:srgbClr val="7A70C6"/>
    <a:srgbClr val="CCCCFF"/>
    <a:srgbClr val="423D67"/>
    <a:srgbClr val="462E82"/>
    <a:srgbClr val="B7DC8A"/>
    <a:srgbClr val="F098DD"/>
    <a:srgbClr val="EF6347"/>
    <a:srgbClr val="E3D2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36" autoAdjust="0"/>
    <p:restoredTop sz="94674"/>
  </p:normalViewPr>
  <p:slideViewPr>
    <p:cSldViewPr snapToGrid="0">
      <p:cViewPr varScale="1">
        <p:scale>
          <a:sx n="124" d="100"/>
          <a:sy n="124" d="100"/>
        </p:scale>
        <p:origin x="3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23434771081191"/>
          <c:y val="4.9261083743842367E-2"/>
          <c:w val="0.49491526279685377"/>
          <c:h val="0.8367502327984179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3BC-4ECB-B036-EFC928BB0B5B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3BC-4ECB-B036-EFC928BB0B5B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3BC-4ECB-B036-EFC928BB0B5B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3BC-4ECB-B036-EFC928BB0B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Обуч!$A$12:$A$21</c:f>
              <c:strCache>
                <c:ptCount val="10"/>
                <c:pt idx="0">
                  <c:v>Отсутствие качественной системы безопасности в школе</c:v>
                </c:pt>
                <c:pt idx="1">
                  <c:v>Отсутствие в школе системы работы с отстающими учениками</c:v>
                </c:pt>
                <c:pt idx="2">
                  <c:v>Неинтересные уроки</c:v>
                </c:pt>
                <c:pt idx="3">
                  <c:v>Недостаток площадей для осуществления образовательного процесса, и, как следствие обучение в 2-3 смены</c:v>
                </c:pt>
                <c:pt idx="4">
                  <c:v>Плохое питание</c:v>
                </c:pt>
                <c:pt idx="5">
                  <c:v>Отсутствие индивидуальных образовательных траекторий</c:v>
                </c:pt>
                <c:pt idx="6">
                  <c:v>Отсутствие интернета и доступа к электронным образовательным ресурсам в школе</c:v>
                </c:pt>
                <c:pt idx="7">
                  <c:v>Устаревшее оснащение школы</c:v>
                </c:pt>
                <c:pt idx="8">
                  <c:v>Слишком много контрольных работ</c:v>
                </c:pt>
                <c:pt idx="9">
                  <c:v>Перегруженность домашними заданиями</c:v>
                </c:pt>
              </c:strCache>
            </c:strRef>
          </c:cat>
          <c:val>
            <c:numRef>
              <c:f>Проблемы_Обуч!$C$12:$C$21</c:f>
              <c:numCache>
                <c:formatCode>0.0</c:formatCode>
                <c:ptCount val="10"/>
                <c:pt idx="0">
                  <c:v>28.501118568232663</c:v>
                </c:pt>
                <c:pt idx="1">
                  <c:v>28.590604026845639</c:v>
                </c:pt>
                <c:pt idx="2">
                  <c:v>30.290827740492173</c:v>
                </c:pt>
                <c:pt idx="3">
                  <c:v>30.425055928411631</c:v>
                </c:pt>
                <c:pt idx="4">
                  <c:v>30.514541387024607</c:v>
                </c:pt>
                <c:pt idx="5">
                  <c:v>32.841163310961967</c:v>
                </c:pt>
                <c:pt idx="6">
                  <c:v>37.583892617449663</c:v>
                </c:pt>
                <c:pt idx="7">
                  <c:v>42.908277404921705</c:v>
                </c:pt>
                <c:pt idx="8">
                  <c:v>51.946308724832214</c:v>
                </c:pt>
                <c:pt idx="9">
                  <c:v>66.577181208053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BC-4ECB-B036-EFC928BB0B5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  <c:max val="70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5678937113085341"/>
              <c:y val="0.821195678998127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396221650807813"/>
          <c:y val="5.9475533928088672E-2"/>
          <c:w val="0.48549792312839568"/>
          <c:h val="0.837217618540040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A70C6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4E-41A5-9371-44F1FB288580}"/>
              </c:ext>
            </c:extLst>
          </c:dPt>
          <c:dPt>
            <c:idx val="7"/>
            <c:invertIfNegative val="0"/>
            <c:bubble3D val="0"/>
            <c:spPr>
              <a:solidFill>
                <a:srgbClr val="7A70C6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4E-41A5-9371-44F1FB288580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4E-41A5-9371-44F1FB2885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Пед!$A$16:$A$25</c:f>
              <c:strCache>
                <c:ptCount val="10"/>
                <c:pt idx="0">
                  <c:v>Трудозатратная процедура аттестации педагогических работников</c:v>
                </c:pt>
                <c:pt idx="1">
                  <c:v>Недостаток площадей для осуществления образовательного процесса, и, как следствие обучение в 2-3 смены</c:v>
                </c:pt>
                <c:pt idx="2">
                  <c:v>Большое количество неоплачиваемой работы у педагогов</c:v>
                </c:pt>
                <c:pt idx="3">
                  <c:v>Недостаток квалифицированных педагогов</c:v>
                </c:pt>
                <c:pt idx="4">
                  <c:v>Низкий уровень материально-технической оснащенности образовательного процесса</c:v>
                </c:pt>
                <c:pt idx="5">
                  <c:v>Недостаток молодых педагогов</c:v>
                </c:pt>
                <c:pt idx="6">
                  <c:v>Перегруженность педагогов различными мероприятиями и проектами, не относящимися к образовательной программе</c:v>
                </c:pt>
                <c:pt idx="7">
                  <c:v>Низкий уровень мотивации к обучению у подрастающего поколения</c:v>
                </c:pt>
                <c:pt idx="8">
                  <c:v>Высокая документарная нагрузка педагогов</c:v>
                </c:pt>
                <c:pt idx="9">
                  <c:v>Низкая оплата труда педагогов</c:v>
                </c:pt>
              </c:strCache>
            </c:strRef>
          </c:cat>
          <c:val>
            <c:numRef>
              <c:f>Проблемы_Пед!$C$16:$C$25</c:f>
              <c:numCache>
                <c:formatCode>0.0</c:formatCode>
                <c:ptCount val="10"/>
                <c:pt idx="0">
                  <c:v>20.936902485659655</c:v>
                </c:pt>
                <c:pt idx="1">
                  <c:v>24.760994263862333</c:v>
                </c:pt>
                <c:pt idx="2">
                  <c:v>27.915869980879542</c:v>
                </c:pt>
                <c:pt idx="3">
                  <c:v>28.154875717017209</c:v>
                </c:pt>
                <c:pt idx="4">
                  <c:v>33.795411089866157</c:v>
                </c:pt>
                <c:pt idx="5">
                  <c:v>44.216061185468455</c:v>
                </c:pt>
                <c:pt idx="6">
                  <c:v>47.227533460803059</c:v>
                </c:pt>
                <c:pt idx="7">
                  <c:v>57.361376673040155</c:v>
                </c:pt>
                <c:pt idx="8">
                  <c:v>66.969407265774379</c:v>
                </c:pt>
                <c:pt idx="9">
                  <c:v>71.749521988527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C4E-41A5-9371-44F1FB28858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4584520467811641"/>
              <c:y val="0.815561275994346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5AA43A-CB1A-4AAB-9CBC-C23D67B28EA4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376079-BA01-434B-B1B6-1D7647171A39}">
      <dgm:prSet phldrT="[Текст]" custT="1"/>
      <dgm:spPr>
        <a:solidFill>
          <a:srgbClr val="C65D28"/>
        </a:solidFill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Загруженность учителей </a:t>
          </a:r>
        </a:p>
      </dgm:t>
    </dgm:pt>
    <dgm:pt modelId="{E751C3BE-48A5-47E8-A70D-106C3230226F}" type="parTrans" cxnId="{1F9E5C0D-C448-4E3C-B9B3-4B2E4BA50135}">
      <dgm:prSet/>
      <dgm:spPr/>
      <dgm:t>
        <a:bodyPr/>
        <a:lstStyle/>
        <a:p>
          <a:endParaRPr lang="ru-RU"/>
        </a:p>
      </dgm:t>
    </dgm:pt>
    <dgm:pt modelId="{A47FF864-47EE-4DAD-8A79-1754FFF6E4B6}" type="sibTrans" cxnId="{1F9E5C0D-C448-4E3C-B9B3-4B2E4BA50135}">
      <dgm:prSet/>
      <dgm:spPr/>
      <dgm:t>
        <a:bodyPr/>
        <a:lstStyle/>
        <a:p>
          <a:endParaRPr lang="ru-RU"/>
        </a:p>
      </dgm:t>
    </dgm:pt>
    <dgm:pt modelId="{B78396D2-1CE1-4C84-8114-3E523A2FA96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gm:t>
    </dgm:pt>
    <dgm:pt modelId="{75CC6DC2-84BD-461F-90EF-327BD80FF570}" type="parTrans" cxnId="{CB99AED9-E9D0-407D-BE28-7C1A8125AC59}">
      <dgm:prSet/>
      <dgm:spPr/>
      <dgm:t>
        <a:bodyPr/>
        <a:lstStyle/>
        <a:p>
          <a:endParaRPr lang="ru-RU"/>
        </a:p>
      </dgm:t>
    </dgm:pt>
    <dgm:pt modelId="{B5EF4533-F99E-45F6-B2B5-71FF6875E469}" type="sibTrans" cxnId="{CB99AED9-E9D0-407D-BE28-7C1A8125AC59}">
      <dgm:prSet/>
      <dgm:spPr/>
      <dgm:t>
        <a:bodyPr/>
        <a:lstStyle/>
        <a:p>
          <a:endParaRPr lang="ru-RU"/>
        </a:p>
      </dgm:t>
    </dgm:pt>
    <dgm:pt modelId="{307FB031-6E95-4B1C-9F67-097412E27CA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gm:t>
    </dgm:pt>
    <dgm:pt modelId="{AE942A54-A7FD-4165-8BE4-A83A2D4C822E}" type="parTrans" cxnId="{486C0B97-DBF1-4F61-B08D-FBFF983E5CAD}">
      <dgm:prSet/>
      <dgm:spPr/>
      <dgm:t>
        <a:bodyPr/>
        <a:lstStyle/>
        <a:p>
          <a:endParaRPr lang="ru-RU"/>
        </a:p>
      </dgm:t>
    </dgm:pt>
    <dgm:pt modelId="{FA85DA6C-F354-402F-ABDB-E2AAC1B62246}" type="sibTrans" cxnId="{486C0B97-DBF1-4F61-B08D-FBFF983E5CAD}">
      <dgm:prSet/>
      <dgm:spPr/>
      <dgm:t>
        <a:bodyPr/>
        <a:lstStyle/>
        <a:p>
          <a:endParaRPr lang="ru-RU"/>
        </a:p>
      </dgm:t>
    </dgm:pt>
    <dgm:pt modelId="{EF0348DC-321F-49B1-BF73-A31314043953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gm:t>
    </dgm:pt>
    <dgm:pt modelId="{3D042A4C-0590-47BE-82DF-D586F61A15B9}" type="parTrans" cxnId="{108C0BD8-09EA-4A31-ABAE-647D11B851CC}">
      <dgm:prSet/>
      <dgm:spPr/>
      <dgm:t>
        <a:bodyPr/>
        <a:lstStyle/>
        <a:p>
          <a:endParaRPr lang="ru-RU"/>
        </a:p>
      </dgm:t>
    </dgm:pt>
    <dgm:pt modelId="{2566CE4F-898D-4004-AD67-8B8E23FDEB43}" type="sibTrans" cxnId="{108C0BD8-09EA-4A31-ABAE-647D11B851CC}">
      <dgm:prSet/>
      <dgm:spPr/>
      <dgm:t>
        <a:bodyPr/>
        <a:lstStyle/>
        <a:p>
          <a:endParaRPr lang="ru-RU"/>
        </a:p>
      </dgm:t>
    </dgm:pt>
    <dgm:pt modelId="{0C8A38C0-625A-421E-9DC8-A13B963F4F78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gm:t>
    </dgm:pt>
    <dgm:pt modelId="{1CBBBA55-EC84-47CA-834F-CC9301B61219}" type="parTrans" cxnId="{74BDEA6D-BCE7-4AA1-A143-EC07540327CD}">
      <dgm:prSet/>
      <dgm:spPr/>
      <dgm:t>
        <a:bodyPr/>
        <a:lstStyle/>
        <a:p>
          <a:endParaRPr lang="ru-RU"/>
        </a:p>
      </dgm:t>
    </dgm:pt>
    <dgm:pt modelId="{B4738228-DC2E-4120-81F9-FE550CE6BDAE}" type="sibTrans" cxnId="{74BDEA6D-BCE7-4AA1-A143-EC07540327CD}">
      <dgm:prSet/>
      <dgm:spPr/>
      <dgm:t>
        <a:bodyPr/>
        <a:lstStyle/>
        <a:p>
          <a:endParaRPr lang="ru-RU"/>
        </a:p>
      </dgm:t>
    </dgm:pt>
    <dgm:pt modelId="{28863E19-90CD-4EB3-8E0E-1088B08A1248}">
      <dgm:prSet/>
      <dgm:spPr>
        <a:solidFill>
          <a:srgbClr val="9999FF"/>
        </a:solidFill>
        <a:ln>
          <a:solidFill>
            <a:srgbClr val="7A70C6"/>
          </a:solidFill>
        </a:ln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gm:t>
    </dgm:pt>
    <dgm:pt modelId="{74C91205-5425-4A42-BB22-239ADDB3193F}" type="parTrans" cxnId="{844D6BDB-3760-4D39-9C12-240598FD2F5E}">
      <dgm:prSet/>
      <dgm:spPr/>
      <dgm:t>
        <a:bodyPr/>
        <a:lstStyle/>
        <a:p>
          <a:endParaRPr lang="ru-RU"/>
        </a:p>
      </dgm:t>
    </dgm:pt>
    <dgm:pt modelId="{49BB84AD-0A57-4533-8E2B-E8AD218CC4EF}" type="sibTrans" cxnId="{844D6BDB-3760-4D39-9C12-240598FD2F5E}">
      <dgm:prSet/>
      <dgm:spPr/>
      <dgm:t>
        <a:bodyPr/>
        <a:lstStyle/>
        <a:p>
          <a:endParaRPr lang="ru-RU"/>
        </a:p>
      </dgm:t>
    </dgm:pt>
    <dgm:pt modelId="{971A5FF0-6B18-4D08-866B-00D3450FA0B1}" type="pres">
      <dgm:prSet presAssocID="{135AA43A-CB1A-4AAB-9CBC-C23D67B28EA4}" presName="Name0" presStyleCnt="0">
        <dgm:presLayoutVars>
          <dgm:dir/>
          <dgm:resizeHandles val="exact"/>
        </dgm:presLayoutVars>
      </dgm:prSet>
      <dgm:spPr/>
    </dgm:pt>
    <dgm:pt modelId="{5CD32D72-A6C2-4E07-92EF-509ACB6D6B84}" type="pres">
      <dgm:prSet presAssocID="{135AA43A-CB1A-4AAB-9CBC-C23D67B28EA4}" presName="cycle" presStyleCnt="0"/>
      <dgm:spPr/>
    </dgm:pt>
    <dgm:pt modelId="{AD76F7DA-A05C-456D-9FED-BAA7D5FA686F}" type="pres">
      <dgm:prSet presAssocID="{36376079-BA01-434B-B1B6-1D7647171A39}" presName="nodeFirstNode" presStyleLbl="node1" presStyleIdx="0" presStyleCnt="6">
        <dgm:presLayoutVars>
          <dgm:bulletEnabled val="1"/>
        </dgm:presLayoutVars>
      </dgm:prSet>
      <dgm:spPr/>
    </dgm:pt>
    <dgm:pt modelId="{C9D7FD41-5293-4C8A-958C-2ED77A6004FF}" type="pres">
      <dgm:prSet presAssocID="{A47FF864-47EE-4DAD-8A79-1754FFF6E4B6}" presName="sibTransFirstNode" presStyleLbl="bgShp" presStyleIdx="0" presStyleCnt="1"/>
      <dgm:spPr/>
    </dgm:pt>
    <dgm:pt modelId="{FF9A7F4E-61A7-4165-9CDE-959383E90EE6}" type="pres">
      <dgm:prSet presAssocID="{B78396D2-1CE1-4C84-8114-3E523A2FA96B}" presName="nodeFollowingNodes" presStyleLbl="node1" presStyleIdx="1" presStyleCnt="6">
        <dgm:presLayoutVars>
          <dgm:bulletEnabled val="1"/>
        </dgm:presLayoutVars>
      </dgm:prSet>
      <dgm:spPr/>
    </dgm:pt>
    <dgm:pt modelId="{4F455018-EBF4-4209-9D90-5A9A20CE0B0E}" type="pres">
      <dgm:prSet presAssocID="{307FB031-6E95-4B1C-9F67-097412E27CAB}" presName="nodeFollowingNodes" presStyleLbl="node1" presStyleIdx="2" presStyleCnt="6">
        <dgm:presLayoutVars>
          <dgm:bulletEnabled val="1"/>
        </dgm:presLayoutVars>
      </dgm:prSet>
      <dgm:spPr/>
    </dgm:pt>
    <dgm:pt modelId="{B78DA06D-FD10-4DAA-80A9-3416FA1DD1C4}" type="pres">
      <dgm:prSet presAssocID="{EF0348DC-321F-49B1-BF73-A31314043953}" presName="nodeFollowingNodes" presStyleLbl="node1" presStyleIdx="3" presStyleCnt="6">
        <dgm:presLayoutVars>
          <dgm:bulletEnabled val="1"/>
        </dgm:presLayoutVars>
      </dgm:prSet>
      <dgm:spPr/>
    </dgm:pt>
    <dgm:pt modelId="{A656902B-D635-442F-8465-A64FC9976F3B}" type="pres">
      <dgm:prSet presAssocID="{0C8A38C0-625A-421E-9DC8-A13B963F4F78}" presName="nodeFollowingNodes" presStyleLbl="node1" presStyleIdx="4" presStyleCnt="6">
        <dgm:presLayoutVars>
          <dgm:bulletEnabled val="1"/>
        </dgm:presLayoutVars>
      </dgm:prSet>
      <dgm:spPr/>
    </dgm:pt>
    <dgm:pt modelId="{97F211FA-77BA-41DD-8E61-FA1013089D0A}" type="pres">
      <dgm:prSet presAssocID="{28863E19-90CD-4EB3-8E0E-1088B08A1248}" presName="nodeFollowingNodes" presStyleLbl="node1" presStyleIdx="5" presStyleCnt="6">
        <dgm:presLayoutVars>
          <dgm:bulletEnabled val="1"/>
        </dgm:presLayoutVars>
      </dgm:prSet>
      <dgm:spPr/>
    </dgm:pt>
  </dgm:ptLst>
  <dgm:cxnLst>
    <dgm:cxn modelId="{1F9E5C0D-C448-4E3C-B9B3-4B2E4BA50135}" srcId="{135AA43A-CB1A-4AAB-9CBC-C23D67B28EA4}" destId="{36376079-BA01-434B-B1B6-1D7647171A39}" srcOrd="0" destOrd="0" parTransId="{E751C3BE-48A5-47E8-A70D-106C3230226F}" sibTransId="{A47FF864-47EE-4DAD-8A79-1754FFF6E4B6}"/>
    <dgm:cxn modelId="{FD167D27-10E1-431D-ADED-0764D817960E}" type="presOf" srcId="{A47FF864-47EE-4DAD-8A79-1754FFF6E4B6}" destId="{C9D7FD41-5293-4C8A-958C-2ED77A6004FF}" srcOrd="0" destOrd="0" presId="urn:microsoft.com/office/officeart/2005/8/layout/cycle3"/>
    <dgm:cxn modelId="{1119123A-C034-485E-91AB-BD7F9E70453A}" type="presOf" srcId="{307FB031-6E95-4B1C-9F67-097412E27CAB}" destId="{4F455018-EBF4-4209-9D90-5A9A20CE0B0E}" srcOrd="0" destOrd="0" presId="urn:microsoft.com/office/officeart/2005/8/layout/cycle3"/>
    <dgm:cxn modelId="{0D845652-92E4-4FD3-8EB4-124F60BCBF0F}" type="presOf" srcId="{135AA43A-CB1A-4AAB-9CBC-C23D67B28EA4}" destId="{971A5FF0-6B18-4D08-866B-00D3450FA0B1}" srcOrd="0" destOrd="0" presId="urn:microsoft.com/office/officeart/2005/8/layout/cycle3"/>
    <dgm:cxn modelId="{74BDEA6D-BCE7-4AA1-A143-EC07540327CD}" srcId="{135AA43A-CB1A-4AAB-9CBC-C23D67B28EA4}" destId="{0C8A38C0-625A-421E-9DC8-A13B963F4F78}" srcOrd="4" destOrd="0" parTransId="{1CBBBA55-EC84-47CA-834F-CC9301B61219}" sibTransId="{B4738228-DC2E-4120-81F9-FE550CE6BDAE}"/>
    <dgm:cxn modelId="{EEEC0D76-E4D4-49EE-B823-2FBB68241AB2}" type="presOf" srcId="{36376079-BA01-434B-B1B6-1D7647171A39}" destId="{AD76F7DA-A05C-456D-9FED-BAA7D5FA686F}" srcOrd="0" destOrd="0" presId="urn:microsoft.com/office/officeart/2005/8/layout/cycle3"/>
    <dgm:cxn modelId="{DB7CD577-4297-4E4A-8C63-EA96AA3296F8}" type="presOf" srcId="{B78396D2-1CE1-4C84-8114-3E523A2FA96B}" destId="{FF9A7F4E-61A7-4165-9CDE-959383E90EE6}" srcOrd="0" destOrd="0" presId="urn:microsoft.com/office/officeart/2005/8/layout/cycle3"/>
    <dgm:cxn modelId="{486C0B97-DBF1-4F61-B08D-FBFF983E5CAD}" srcId="{135AA43A-CB1A-4AAB-9CBC-C23D67B28EA4}" destId="{307FB031-6E95-4B1C-9F67-097412E27CAB}" srcOrd="2" destOrd="0" parTransId="{AE942A54-A7FD-4165-8BE4-A83A2D4C822E}" sibTransId="{FA85DA6C-F354-402F-ABDB-E2AAC1B62246}"/>
    <dgm:cxn modelId="{0E1AF1CB-7001-4F99-8167-320B8C24B372}" type="presOf" srcId="{EF0348DC-321F-49B1-BF73-A31314043953}" destId="{B78DA06D-FD10-4DAA-80A9-3416FA1DD1C4}" srcOrd="0" destOrd="0" presId="urn:microsoft.com/office/officeart/2005/8/layout/cycle3"/>
    <dgm:cxn modelId="{9D1075D6-53E4-4C6D-8EDF-35C1B23CCB0B}" type="presOf" srcId="{28863E19-90CD-4EB3-8E0E-1088B08A1248}" destId="{97F211FA-77BA-41DD-8E61-FA1013089D0A}" srcOrd="0" destOrd="0" presId="urn:microsoft.com/office/officeart/2005/8/layout/cycle3"/>
    <dgm:cxn modelId="{108C0BD8-09EA-4A31-ABAE-647D11B851CC}" srcId="{135AA43A-CB1A-4AAB-9CBC-C23D67B28EA4}" destId="{EF0348DC-321F-49B1-BF73-A31314043953}" srcOrd="3" destOrd="0" parTransId="{3D042A4C-0590-47BE-82DF-D586F61A15B9}" sibTransId="{2566CE4F-898D-4004-AD67-8B8E23FDEB43}"/>
    <dgm:cxn modelId="{CB99AED9-E9D0-407D-BE28-7C1A8125AC59}" srcId="{135AA43A-CB1A-4AAB-9CBC-C23D67B28EA4}" destId="{B78396D2-1CE1-4C84-8114-3E523A2FA96B}" srcOrd="1" destOrd="0" parTransId="{75CC6DC2-84BD-461F-90EF-327BD80FF570}" sibTransId="{B5EF4533-F99E-45F6-B2B5-71FF6875E469}"/>
    <dgm:cxn modelId="{844D6BDB-3760-4D39-9C12-240598FD2F5E}" srcId="{135AA43A-CB1A-4AAB-9CBC-C23D67B28EA4}" destId="{28863E19-90CD-4EB3-8E0E-1088B08A1248}" srcOrd="5" destOrd="0" parTransId="{74C91205-5425-4A42-BB22-239ADDB3193F}" sibTransId="{49BB84AD-0A57-4533-8E2B-E8AD218CC4EF}"/>
    <dgm:cxn modelId="{17FF7DEE-4BDC-4C60-ADB5-93B64F90F112}" type="presOf" srcId="{0C8A38C0-625A-421E-9DC8-A13B963F4F78}" destId="{A656902B-D635-442F-8465-A64FC9976F3B}" srcOrd="0" destOrd="0" presId="urn:microsoft.com/office/officeart/2005/8/layout/cycle3"/>
    <dgm:cxn modelId="{9BBF81A4-536B-4BCF-A121-88449153B2A7}" type="presParOf" srcId="{971A5FF0-6B18-4D08-866B-00D3450FA0B1}" destId="{5CD32D72-A6C2-4E07-92EF-509ACB6D6B84}" srcOrd="0" destOrd="0" presId="urn:microsoft.com/office/officeart/2005/8/layout/cycle3"/>
    <dgm:cxn modelId="{1A032D25-4D17-4960-A39B-09431A7586D9}" type="presParOf" srcId="{5CD32D72-A6C2-4E07-92EF-509ACB6D6B84}" destId="{AD76F7DA-A05C-456D-9FED-BAA7D5FA686F}" srcOrd="0" destOrd="0" presId="urn:microsoft.com/office/officeart/2005/8/layout/cycle3"/>
    <dgm:cxn modelId="{D2EED499-DC9E-44AE-A546-3621DF32C3DC}" type="presParOf" srcId="{5CD32D72-A6C2-4E07-92EF-509ACB6D6B84}" destId="{C9D7FD41-5293-4C8A-958C-2ED77A6004FF}" srcOrd="1" destOrd="0" presId="urn:microsoft.com/office/officeart/2005/8/layout/cycle3"/>
    <dgm:cxn modelId="{BB423AB7-EB32-4193-AAC1-526BB70C0B24}" type="presParOf" srcId="{5CD32D72-A6C2-4E07-92EF-509ACB6D6B84}" destId="{FF9A7F4E-61A7-4165-9CDE-959383E90EE6}" srcOrd="2" destOrd="0" presId="urn:microsoft.com/office/officeart/2005/8/layout/cycle3"/>
    <dgm:cxn modelId="{5967D318-4F4E-4C1B-88C9-6F86AB029796}" type="presParOf" srcId="{5CD32D72-A6C2-4E07-92EF-509ACB6D6B84}" destId="{4F455018-EBF4-4209-9D90-5A9A20CE0B0E}" srcOrd="3" destOrd="0" presId="urn:microsoft.com/office/officeart/2005/8/layout/cycle3"/>
    <dgm:cxn modelId="{94FDAC7F-7501-430D-86EF-31B53FC97C7C}" type="presParOf" srcId="{5CD32D72-A6C2-4E07-92EF-509ACB6D6B84}" destId="{B78DA06D-FD10-4DAA-80A9-3416FA1DD1C4}" srcOrd="4" destOrd="0" presId="urn:microsoft.com/office/officeart/2005/8/layout/cycle3"/>
    <dgm:cxn modelId="{B58D135E-91F1-45E3-B889-58F7FDF788EA}" type="presParOf" srcId="{5CD32D72-A6C2-4E07-92EF-509ACB6D6B84}" destId="{A656902B-D635-442F-8465-A64FC9976F3B}" srcOrd="5" destOrd="0" presId="urn:microsoft.com/office/officeart/2005/8/layout/cycle3"/>
    <dgm:cxn modelId="{7F191870-A994-4C3A-8B0C-0E7D726857F2}" type="presParOf" srcId="{5CD32D72-A6C2-4E07-92EF-509ACB6D6B84}" destId="{97F211FA-77BA-41DD-8E61-FA1013089D0A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06B8B45-C210-4E47-9FD3-E763E32B6CB1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E47DE0B-97DC-402B-86EF-273F93468E4E}">
      <dgm:prSet phldrT="[Текст]"/>
      <dgm:spPr/>
      <dgm:t>
        <a:bodyPr/>
        <a:lstStyle/>
        <a:p>
          <a:r>
            <a:rPr lang="ru-RU" dirty="0"/>
            <a:t>Документация </a:t>
          </a:r>
        </a:p>
      </dgm:t>
    </dgm:pt>
    <dgm:pt modelId="{E4334707-E8E0-44F0-85DA-95076ADCF36E}" type="parTrans" cxnId="{E38F3EB7-2B24-481E-948D-412FE144804D}">
      <dgm:prSet/>
      <dgm:spPr/>
      <dgm:t>
        <a:bodyPr/>
        <a:lstStyle/>
        <a:p>
          <a:endParaRPr lang="ru-RU"/>
        </a:p>
      </dgm:t>
    </dgm:pt>
    <dgm:pt modelId="{06683A6B-96D5-4200-BF84-A656BC0AE656}" type="sibTrans" cxnId="{E38F3EB7-2B24-481E-948D-412FE144804D}">
      <dgm:prSet/>
      <dgm:spPr/>
      <dgm:t>
        <a:bodyPr/>
        <a:lstStyle/>
        <a:p>
          <a:endParaRPr lang="ru-RU"/>
        </a:p>
      </dgm:t>
    </dgm:pt>
    <dgm:pt modelId="{311AD59B-77CB-4082-AD51-B9B5478925AC}">
      <dgm:prSet phldrT="[Текст]"/>
      <dgm:spPr/>
      <dgm:t>
        <a:bodyPr/>
        <a:lstStyle/>
        <a:p>
          <a:r>
            <a:rPr lang="ru-RU" dirty="0"/>
            <a:t>Перечни документации педагогов</a:t>
          </a:r>
        </a:p>
      </dgm:t>
    </dgm:pt>
    <dgm:pt modelId="{18EFDCD5-3CBF-4320-A5DD-C1F09C585583}" type="parTrans" cxnId="{2DCF73DE-BF4F-440D-84B3-4C830FF2CADD}">
      <dgm:prSet/>
      <dgm:spPr/>
      <dgm:t>
        <a:bodyPr/>
        <a:lstStyle/>
        <a:p>
          <a:endParaRPr lang="ru-RU"/>
        </a:p>
      </dgm:t>
    </dgm:pt>
    <dgm:pt modelId="{DAD83F2A-9F91-49C0-B9BE-EB8766B4EF07}" type="sibTrans" cxnId="{2DCF73DE-BF4F-440D-84B3-4C830FF2CADD}">
      <dgm:prSet/>
      <dgm:spPr/>
      <dgm:t>
        <a:bodyPr/>
        <a:lstStyle/>
        <a:p>
          <a:endParaRPr lang="ru-RU"/>
        </a:p>
      </dgm:t>
    </dgm:pt>
    <dgm:pt modelId="{A45A900D-449D-4E75-899A-24B5AF0BD0AE}">
      <dgm:prSet phldrT="[Текст]"/>
      <dgm:spPr/>
      <dgm:t>
        <a:bodyPr/>
        <a:lstStyle/>
        <a:p>
          <a:r>
            <a:rPr lang="ru-RU" dirty="0"/>
            <a:t>Мониторинги </a:t>
          </a:r>
        </a:p>
      </dgm:t>
    </dgm:pt>
    <dgm:pt modelId="{357A1A3E-1EE5-4259-B4D7-A3D40914DF2C}" type="parTrans" cxnId="{C134D092-A011-402F-8175-A4616DD69FBB}">
      <dgm:prSet/>
      <dgm:spPr/>
      <dgm:t>
        <a:bodyPr/>
        <a:lstStyle/>
        <a:p>
          <a:endParaRPr lang="ru-RU"/>
        </a:p>
      </dgm:t>
    </dgm:pt>
    <dgm:pt modelId="{BFB8C0AA-377B-42F4-A7BA-7220F4039642}" type="sibTrans" cxnId="{C134D092-A011-402F-8175-A4616DD69FBB}">
      <dgm:prSet/>
      <dgm:spPr/>
      <dgm:t>
        <a:bodyPr/>
        <a:lstStyle/>
        <a:p>
          <a:endParaRPr lang="ru-RU"/>
        </a:p>
      </dgm:t>
    </dgm:pt>
    <dgm:pt modelId="{28A07DCC-B1F3-4CF5-B622-938F6832ABCE}">
      <dgm:prSet phldrT="[Текст]"/>
      <dgm:spPr/>
      <dgm:t>
        <a:bodyPr/>
        <a:lstStyle/>
        <a:p>
          <a:r>
            <a:rPr lang="ru-RU" dirty="0"/>
            <a:t>Перечни мониторингов и показателей </a:t>
          </a:r>
        </a:p>
      </dgm:t>
    </dgm:pt>
    <dgm:pt modelId="{46182ACC-9326-40F4-89BE-5B735FB5E11D}" type="parTrans" cxnId="{C9DA163E-09A9-42B5-B55D-67F2FF69A7CC}">
      <dgm:prSet/>
      <dgm:spPr/>
      <dgm:t>
        <a:bodyPr/>
        <a:lstStyle/>
        <a:p>
          <a:endParaRPr lang="ru-RU"/>
        </a:p>
      </dgm:t>
    </dgm:pt>
    <dgm:pt modelId="{1FE8B445-303A-4DF9-AF85-22ADA45E06AD}" type="sibTrans" cxnId="{C9DA163E-09A9-42B5-B55D-67F2FF69A7CC}">
      <dgm:prSet/>
      <dgm:spPr/>
      <dgm:t>
        <a:bodyPr/>
        <a:lstStyle/>
        <a:p>
          <a:endParaRPr lang="ru-RU"/>
        </a:p>
      </dgm:t>
    </dgm:pt>
    <dgm:pt modelId="{01142082-1D8A-4AC9-8165-8169F5DD8277}">
      <dgm:prSet phldrT="[Текст]"/>
      <dgm:spPr/>
      <dgm:t>
        <a:bodyPr/>
        <a:lstStyle/>
        <a:p>
          <a:r>
            <a:rPr lang="ru-RU" dirty="0"/>
            <a:t>Информационные системы </a:t>
          </a:r>
        </a:p>
      </dgm:t>
    </dgm:pt>
    <dgm:pt modelId="{3448A51E-6B30-49F9-BD5E-2F032CF4A092}" type="parTrans" cxnId="{777B49B3-73E2-4F8B-9ABD-BAADD6DE3E85}">
      <dgm:prSet/>
      <dgm:spPr/>
      <dgm:t>
        <a:bodyPr/>
        <a:lstStyle/>
        <a:p>
          <a:endParaRPr lang="ru-RU"/>
        </a:p>
      </dgm:t>
    </dgm:pt>
    <dgm:pt modelId="{804E74D1-BED5-4E4E-B68C-96C9F52EA308}" type="sibTrans" cxnId="{777B49B3-73E2-4F8B-9ABD-BAADD6DE3E85}">
      <dgm:prSet/>
      <dgm:spPr/>
      <dgm:t>
        <a:bodyPr/>
        <a:lstStyle/>
        <a:p>
          <a:endParaRPr lang="ru-RU"/>
        </a:p>
      </dgm:t>
    </dgm:pt>
    <dgm:pt modelId="{54DE2B6B-9C4E-47A6-8EAB-FE816B178108}">
      <dgm:prSet phldrT="[Текст]"/>
      <dgm:spPr/>
      <dgm:t>
        <a:bodyPr/>
        <a:lstStyle/>
        <a:p>
          <a:r>
            <a:rPr lang="ru-RU" dirty="0"/>
            <a:t>Перечни информационных систем и собираемых данных </a:t>
          </a:r>
        </a:p>
      </dgm:t>
    </dgm:pt>
    <dgm:pt modelId="{781D2649-79F7-474B-B35F-0D330B563F67}" type="parTrans" cxnId="{6F0A79F2-0070-4D31-81C6-B80467EE8473}">
      <dgm:prSet/>
      <dgm:spPr/>
      <dgm:t>
        <a:bodyPr/>
        <a:lstStyle/>
        <a:p>
          <a:endParaRPr lang="ru-RU"/>
        </a:p>
      </dgm:t>
    </dgm:pt>
    <dgm:pt modelId="{E8E67E9C-F952-4D05-A6F7-CD3D28BB7484}" type="sibTrans" cxnId="{6F0A79F2-0070-4D31-81C6-B80467EE8473}">
      <dgm:prSet/>
      <dgm:spPr/>
      <dgm:t>
        <a:bodyPr/>
        <a:lstStyle/>
        <a:p>
          <a:endParaRPr lang="ru-RU"/>
        </a:p>
      </dgm:t>
    </dgm:pt>
    <dgm:pt modelId="{E12F71A8-77EC-47FD-AE73-3CE01B415F06}">
      <dgm:prSet/>
      <dgm:spPr/>
      <dgm:t>
        <a:bodyPr/>
        <a:lstStyle/>
        <a:p>
          <a:r>
            <a:rPr lang="ru-RU" dirty="0"/>
            <a:t>Запросы </a:t>
          </a:r>
        </a:p>
      </dgm:t>
    </dgm:pt>
    <dgm:pt modelId="{0B7B1E89-C20A-4E47-A991-82ABAD1C8BB9}" type="parTrans" cxnId="{A9D6C0BC-0F01-4351-955C-97E1BA5E0BD6}">
      <dgm:prSet/>
      <dgm:spPr/>
      <dgm:t>
        <a:bodyPr/>
        <a:lstStyle/>
        <a:p>
          <a:endParaRPr lang="ru-RU"/>
        </a:p>
      </dgm:t>
    </dgm:pt>
    <dgm:pt modelId="{BC55B6A7-9DEC-4B07-BF4C-9C7C503FB745}" type="sibTrans" cxnId="{A9D6C0BC-0F01-4351-955C-97E1BA5E0BD6}">
      <dgm:prSet/>
      <dgm:spPr/>
      <dgm:t>
        <a:bodyPr/>
        <a:lstStyle/>
        <a:p>
          <a:endParaRPr lang="ru-RU"/>
        </a:p>
      </dgm:t>
    </dgm:pt>
    <dgm:pt modelId="{66B769F0-5887-4F60-81AF-82C3B5E20CF2}">
      <dgm:prSet/>
      <dgm:spPr/>
      <dgm:t>
        <a:bodyPr/>
        <a:lstStyle/>
        <a:p>
          <a:r>
            <a:rPr lang="ru-RU" dirty="0"/>
            <a:t>Механизм</a:t>
          </a:r>
          <a:r>
            <a:rPr lang="ru-RU" baseline="0" dirty="0"/>
            <a:t> допуска</a:t>
          </a:r>
          <a:endParaRPr lang="ru-RU" dirty="0"/>
        </a:p>
      </dgm:t>
    </dgm:pt>
    <dgm:pt modelId="{954F4FB9-F872-448B-8D3A-BDB9983E9776}" type="parTrans" cxnId="{093C36A3-61C5-4993-9DFF-998F975F42FC}">
      <dgm:prSet/>
      <dgm:spPr/>
      <dgm:t>
        <a:bodyPr/>
        <a:lstStyle/>
        <a:p>
          <a:endParaRPr lang="ru-RU"/>
        </a:p>
      </dgm:t>
    </dgm:pt>
    <dgm:pt modelId="{0BAF6866-3565-4292-8AF6-2AA7971B7014}" type="sibTrans" cxnId="{093C36A3-61C5-4993-9DFF-998F975F42FC}">
      <dgm:prSet/>
      <dgm:spPr/>
      <dgm:t>
        <a:bodyPr/>
        <a:lstStyle/>
        <a:p>
          <a:endParaRPr lang="ru-RU"/>
        </a:p>
      </dgm:t>
    </dgm:pt>
    <dgm:pt modelId="{E6E78BB1-0EEC-429D-BE30-23678DA070C6}">
      <dgm:prSet phldrT="[Текст]"/>
      <dgm:spPr/>
      <dgm:t>
        <a:bodyPr/>
        <a:lstStyle/>
        <a:p>
          <a:r>
            <a:rPr lang="ru-RU" dirty="0"/>
            <a:t>Перечни документации ОО</a:t>
          </a:r>
        </a:p>
      </dgm:t>
    </dgm:pt>
    <dgm:pt modelId="{A486814A-D9F9-4F5D-A63B-BF6952695F47}" type="parTrans" cxnId="{6A3EBB04-2D60-4B46-AFD5-0BBD21F19BCC}">
      <dgm:prSet/>
      <dgm:spPr/>
      <dgm:t>
        <a:bodyPr/>
        <a:lstStyle/>
        <a:p>
          <a:endParaRPr lang="ru-RU"/>
        </a:p>
      </dgm:t>
    </dgm:pt>
    <dgm:pt modelId="{A4B33E06-D4DC-46EE-8373-B49DC5131E00}" type="sibTrans" cxnId="{6A3EBB04-2D60-4B46-AFD5-0BBD21F19BCC}">
      <dgm:prSet/>
      <dgm:spPr/>
      <dgm:t>
        <a:bodyPr/>
        <a:lstStyle/>
        <a:p>
          <a:endParaRPr lang="ru-RU"/>
        </a:p>
      </dgm:t>
    </dgm:pt>
    <dgm:pt modelId="{7CCB5D7C-BC7A-4F91-865C-97237F537F61}">
      <dgm:prSet phldrT="[Текст]"/>
      <dgm:spPr/>
      <dgm:t>
        <a:bodyPr/>
        <a:lstStyle/>
        <a:p>
          <a:r>
            <a:rPr lang="ru-RU" dirty="0"/>
            <a:t>Типовые формы документов  </a:t>
          </a:r>
        </a:p>
      </dgm:t>
    </dgm:pt>
    <dgm:pt modelId="{4E8BD0D4-E022-4448-B293-84123D29CBE2}" type="parTrans" cxnId="{24851447-6742-437F-9D13-ABDD00B7368A}">
      <dgm:prSet/>
      <dgm:spPr/>
      <dgm:t>
        <a:bodyPr/>
        <a:lstStyle/>
        <a:p>
          <a:endParaRPr lang="ru-RU"/>
        </a:p>
      </dgm:t>
    </dgm:pt>
    <dgm:pt modelId="{3A37230A-1497-40D6-B398-B307BD084A41}" type="sibTrans" cxnId="{24851447-6742-437F-9D13-ABDD00B7368A}">
      <dgm:prSet/>
      <dgm:spPr/>
      <dgm:t>
        <a:bodyPr/>
        <a:lstStyle/>
        <a:p>
          <a:endParaRPr lang="ru-RU"/>
        </a:p>
      </dgm:t>
    </dgm:pt>
    <dgm:pt modelId="{1D97D1DD-F3BC-479B-8AC1-DD4199F9515B}">
      <dgm:prSet phldrT="[Текст]"/>
      <dgm:spPr/>
      <dgm:t>
        <a:bodyPr/>
        <a:lstStyle/>
        <a:p>
          <a:r>
            <a:rPr lang="ru-RU" dirty="0"/>
            <a:t>Оптимизация ИС</a:t>
          </a:r>
        </a:p>
      </dgm:t>
    </dgm:pt>
    <dgm:pt modelId="{636D61AB-50E7-4B71-9D78-D4960F1F672D}" type="parTrans" cxnId="{8D237440-DDA0-43B3-AEAF-D6AD57CD8599}">
      <dgm:prSet/>
      <dgm:spPr/>
      <dgm:t>
        <a:bodyPr/>
        <a:lstStyle/>
        <a:p>
          <a:endParaRPr lang="ru-RU"/>
        </a:p>
      </dgm:t>
    </dgm:pt>
    <dgm:pt modelId="{D7874764-8D24-40AB-A613-6F439BBCF100}" type="sibTrans" cxnId="{8D237440-DDA0-43B3-AEAF-D6AD57CD8599}">
      <dgm:prSet/>
      <dgm:spPr/>
      <dgm:t>
        <a:bodyPr/>
        <a:lstStyle/>
        <a:p>
          <a:endParaRPr lang="ru-RU"/>
        </a:p>
      </dgm:t>
    </dgm:pt>
    <dgm:pt modelId="{7B592C79-03C7-4F71-8C52-0C9CFEA94BEA}" type="pres">
      <dgm:prSet presAssocID="{506B8B45-C210-4E47-9FD3-E763E32B6CB1}" presName="Name0" presStyleCnt="0">
        <dgm:presLayoutVars>
          <dgm:dir/>
          <dgm:animLvl val="lvl"/>
          <dgm:resizeHandles val="exact"/>
        </dgm:presLayoutVars>
      </dgm:prSet>
      <dgm:spPr/>
    </dgm:pt>
    <dgm:pt modelId="{CD83CF4F-558B-4BE1-848F-082960718750}" type="pres">
      <dgm:prSet presAssocID="{EE47DE0B-97DC-402B-86EF-273F93468E4E}" presName="composite" presStyleCnt="0"/>
      <dgm:spPr/>
    </dgm:pt>
    <dgm:pt modelId="{B83B48E3-52FC-452C-A77B-B45AED80A4A0}" type="pres">
      <dgm:prSet presAssocID="{EE47DE0B-97DC-402B-86EF-273F93468E4E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40700FF4-53A5-4568-815E-A446EA88823B}" type="pres">
      <dgm:prSet presAssocID="{EE47DE0B-97DC-402B-86EF-273F93468E4E}" presName="desTx" presStyleLbl="alignAccFollowNode1" presStyleIdx="0" presStyleCnt="4" custScaleX="100333">
        <dgm:presLayoutVars>
          <dgm:bulletEnabled val="1"/>
        </dgm:presLayoutVars>
      </dgm:prSet>
      <dgm:spPr/>
    </dgm:pt>
    <dgm:pt modelId="{6A16A2AB-93B2-4DBE-B0F4-58147AB99EF9}" type="pres">
      <dgm:prSet presAssocID="{06683A6B-96D5-4200-BF84-A656BC0AE656}" presName="space" presStyleCnt="0"/>
      <dgm:spPr/>
    </dgm:pt>
    <dgm:pt modelId="{30CAEF6F-83C6-4D00-8219-5B74F4C67031}" type="pres">
      <dgm:prSet presAssocID="{A45A900D-449D-4E75-899A-24B5AF0BD0AE}" presName="composite" presStyleCnt="0"/>
      <dgm:spPr/>
    </dgm:pt>
    <dgm:pt modelId="{8ADA405E-257E-4D72-A351-F0CBF502C7E0}" type="pres">
      <dgm:prSet presAssocID="{A45A900D-449D-4E75-899A-24B5AF0BD0AE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62279D8D-DDB4-4596-8DA2-EC97B21A20F6}" type="pres">
      <dgm:prSet presAssocID="{A45A900D-449D-4E75-899A-24B5AF0BD0AE}" presName="desTx" presStyleLbl="alignAccFollowNode1" presStyleIdx="1" presStyleCnt="4">
        <dgm:presLayoutVars>
          <dgm:bulletEnabled val="1"/>
        </dgm:presLayoutVars>
      </dgm:prSet>
      <dgm:spPr/>
    </dgm:pt>
    <dgm:pt modelId="{8D512DDC-51C6-4BF3-8E1A-41581FEF4F8A}" type="pres">
      <dgm:prSet presAssocID="{BFB8C0AA-377B-42F4-A7BA-7220F4039642}" presName="space" presStyleCnt="0"/>
      <dgm:spPr/>
    </dgm:pt>
    <dgm:pt modelId="{48EC85AC-C7DB-4250-90DF-F37D26201B54}" type="pres">
      <dgm:prSet presAssocID="{01142082-1D8A-4AC9-8165-8169F5DD8277}" presName="composite" presStyleCnt="0"/>
      <dgm:spPr/>
    </dgm:pt>
    <dgm:pt modelId="{FBA2DED2-25E1-4E14-BE3C-8F5ACE2C5841}" type="pres">
      <dgm:prSet presAssocID="{01142082-1D8A-4AC9-8165-8169F5DD8277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2BE89F62-9239-4A49-8868-BEA1085FE824}" type="pres">
      <dgm:prSet presAssocID="{01142082-1D8A-4AC9-8165-8169F5DD8277}" presName="desTx" presStyleLbl="alignAccFollowNode1" presStyleIdx="2" presStyleCnt="4">
        <dgm:presLayoutVars>
          <dgm:bulletEnabled val="1"/>
        </dgm:presLayoutVars>
      </dgm:prSet>
      <dgm:spPr/>
    </dgm:pt>
    <dgm:pt modelId="{D4516754-E445-4091-BB98-3FCC0964D6EE}" type="pres">
      <dgm:prSet presAssocID="{804E74D1-BED5-4E4E-B68C-96C9F52EA308}" presName="space" presStyleCnt="0"/>
      <dgm:spPr/>
    </dgm:pt>
    <dgm:pt modelId="{E625535E-A660-4C21-A735-4F116685741A}" type="pres">
      <dgm:prSet presAssocID="{E12F71A8-77EC-47FD-AE73-3CE01B415F06}" presName="composite" presStyleCnt="0"/>
      <dgm:spPr/>
    </dgm:pt>
    <dgm:pt modelId="{1A30CB1E-F15C-4D4A-9912-ED777B74C82C}" type="pres">
      <dgm:prSet presAssocID="{E12F71A8-77EC-47FD-AE73-3CE01B415F0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802477A5-92BE-4E74-B80F-B8A323B6EC76}" type="pres">
      <dgm:prSet presAssocID="{E12F71A8-77EC-47FD-AE73-3CE01B415F06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6A3EBB04-2D60-4B46-AFD5-0BBD21F19BCC}" srcId="{EE47DE0B-97DC-402B-86EF-273F93468E4E}" destId="{E6E78BB1-0EEC-429D-BE30-23678DA070C6}" srcOrd="1" destOrd="0" parTransId="{A486814A-D9F9-4F5D-A63B-BF6952695F47}" sibTransId="{A4B33E06-D4DC-46EE-8373-B49DC5131E00}"/>
    <dgm:cxn modelId="{3509641F-D1CE-4ADB-A23B-4EFC1141B2EE}" type="presOf" srcId="{01142082-1D8A-4AC9-8165-8169F5DD8277}" destId="{FBA2DED2-25E1-4E14-BE3C-8F5ACE2C5841}" srcOrd="0" destOrd="0" presId="urn:microsoft.com/office/officeart/2005/8/layout/hList1"/>
    <dgm:cxn modelId="{C9DA163E-09A9-42B5-B55D-67F2FF69A7CC}" srcId="{A45A900D-449D-4E75-899A-24B5AF0BD0AE}" destId="{28A07DCC-B1F3-4CF5-B622-938F6832ABCE}" srcOrd="0" destOrd="0" parTransId="{46182ACC-9326-40F4-89BE-5B735FB5E11D}" sibTransId="{1FE8B445-303A-4DF9-AF85-22ADA45E06AD}"/>
    <dgm:cxn modelId="{8D237440-DDA0-43B3-AEAF-D6AD57CD8599}" srcId="{01142082-1D8A-4AC9-8165-8169F5DD8277}" destId="{1D97D1DD-F3BC-479B-8AC1-DD4199F9515B}" srcOrd="1" destOrd="0" parTransId="{636D61AB-50E7-4B71-9D78-D4960F1F672D}" sibTransId="{D7874764-8D24-40AB-A613-6F439BBCF100}"/>
    <dgm:cxn modelId="{24851447-6742-437F-9D13-ABDD00B7368A}" srcId="{EE47DE0B-97DC-402B-86EF-273F93468E4E}" destId="{7CCB5D7C-BC7A-4F91-865C-97237F537F61}" srcOrd="2" destOrd="0" parTransId="{4E8BD0D4-E022-4448-B293-84123D29CBE2}" sibTransId="{3A37230A-1497-40D6-B398-B307BD084A41}"/>
    <dgm:cxn modelId="{097CD14A-4DE2-418F-B7AA-1D2F9DF43F03}" type="presOf" srcId="{506B8B45-C210-4E47-9FD3-E763E32B6CB1}" destId="{7B592C79-03C7-4F71-8C52-0C9CFEA94BEA}" srcOrd="0" destOrd="0" presId="urn:microsoft.com/office/officeart/2005/8/layout/hList1"/>
    <dgm:cxn modelId="{1CBD715A-CB3D-4792-854C-BCCC067C6D61}" type="presOf" srcId="{EE47DE0B-97DC-402B-86EF-273F93468E4E}" destId="{B83B48E3-52FC-452C-A77B-B45AED80A4A0}" srcOrd="0" destOrd="0" presId="urn:microsoft.com/office/officeart/2005/8/layout/hList1"/>
    <dgm:cxn modelId="{9DD0E462-2619-4B4E-BAC1-4B43EE2059B7}" type="presOf" srcId="{1D97D1DD-F3BC-479B-8AC1-DD4199F9515B}" destId="{2BE89F62-9239-4A49-8868-BEA1085FE824}" srcOrd="0" destOrd="1" presId="urn:microsoft.com/office/officeart/2005/8/layout/hList1"/>
    <dgm:cxn modelId="{43333370-109E-4AD3-AFAB-97AF74B9D245}" type="presOf" srcId="{311AD59B-77CB-4082-AD51-B9B5478925AC}" destId="{40700FF4-53A5-4568-815E-A446EA88823B}" srcOrd="0" destOrd="0" presId="urn:microsoft.com/office/officeart/2005/8/layout/hList1"/>
    <dgm:cxn modelId="{0EC96783-4779-494E-A4A7-FB6B64DDCEE7}" type="presOf" srcId="{E6E78BB1-0EEC-429D-BE30-23678DA070C6}" destId="{40700FF4-53A5-4568-815E-A446EA88823B}" srcOrd="0" destOrd="1" presId="urn:microsoft.com/office/officeart/2005/8/layout/hList1"/>
    <dgm:cxn modelId="{C134D092-A011-402F-8175-A4616DD69FBB}" srcId="{506B8B45-C210-4E47-9FD3-E763E32B6CB1}" destId="{A45A900D-449D-4E75-899A-24B5AF0BD0AE}" srcOrd="1" destOrd="0" parTransId="{357A1A3E-1EE5-4259-B4D7-A3D40914DF2C}" sibTransId="{BFB8C0AA-377B-42F4-A7BA-7220F4039642}"/>
    <dgm:cxn modelId="{74F3D69B-7BB6-467E-A2D7-61B05343D91A}" type="presOf" srcId="{66B769F0-5887-4F60-81AF-82C3B5E20CF2}" destId="{802477A5-92BE-4E74-B80F-B8A323B6EC76}" srcOrd="0" destOrd="0" presId="urn:microsoft.com/office/officeart/2005/8/layout/hList1"/>
    <dgm:cxn modelId="{093C36A3-61C5-4993-9DFF-998F975F42FC}" srcId="{E12F71A8-77EC-47FD-AE73-3CE01B415F06}" destId="{66B769F0-5887-4F60-81AF-82C3B5E20CF2}" srcOrd="0" destOrd="0" parTransId="{954F4FB9-F872-448B-8D3A-BDB9983E9776}" sibTransId="{0BAF6866-3565-4292-8AF6-2AA7971B7014}"/>
    <dgm:cxn modelId="{BAF9B4A4-167A-4E62-858F-5BDD5E96727D}" type="presOf" srcId="{28A07DCC-B1F3-4CF5-B622-938F6832ABCE}" destId="{62279D8D-DDB4-4596-8DA2-EC97B21A20F6}" srcOrd="0" destOrd="0" presId="urn:microsoft.com/office/officeart/2005/8/layout/hList1"/>
    <dgm:cxn modelId="{D1EE39B1-4271-4460-82DF-33E7652094F8}" type="presOf" srcId="{54DE2B6B-9C4E-47A6-8EAB-FE816B178108}" destId="{2BE89F62-9239-4A49-8868-BEA1085FE824}" srcOrd="0" destOrd="0" presId="urn:microsoft.com/office/officeart/2005/8/layout/hList1"/>
    <dgm:cxn modelId="{777B49B3-73E2-4F8B-9ABD-BAADD6DE3E85}" srcId="{506B8B45-C210-4E47-9FD3-E763E32B6CB1}" destId="{01142082-1D8A-4AC9-8165-8169F5DD8277}" srcOrd="2" destOrd="0" parTransId="{3448A51E-6B30-49F9-BD5E-2F032CF4A092}" sibTransId="{804E74D1-BED5-4E4E-B68C-96C9F52EA308}"/>
    <dgm:cxn modelId="{5E3C53B5-C38A-451D-AF32-D6A9B17D88C8}" type="presOf" srcId="{7CCB5D7C-BC7A-4F91-865C-97237F537F61}" destId="{40700FF4-53A5-4568-815E-A446EA88823B}" srcOrd="0" destOrd="2" presId="urn:microsoft.com/office/officeart/2005/8/layout/hList1"/>
    <dgm:cxn modelId="{E38F3EB7-2B24-481E-948D-412FE144804D}" srcId="{506B8B45-C210-4E47-9FD3-E763E32B6CB1}" destId="{EE47DE0B-97DC-402B-86EF-273F93468E4E}" srcOrd="0" destOrd="0" parTransId="{E4334707-E8E0-44F0-85DA-95076ADCF36E}" sibTransId="{06683A6B-96D5-4200-BF84-A656BC0AE656}"/>
    <dgm:cxn modelId="{A9D6C0BC-0F01-4351-955C-97E1BA5E0BD6}" srcId="{506B8B45-C210-4E47-9FD3-E763E32B6CB1}" destId="{E12F71A8-77EC-47FD-AE73-3CE01B415F06}" srcOrd="3" destOrd="0" parTransId="{0B7B1E89-C20A-4E47-A991-82ABAD1C8BB9}" sibTransId="{BC55B6A7-9DEC-4B07-BF4C-9C7C503FB745}"/>
    <dgm:cxn modelId="{2DCF73DE-BF4F-440D-84B3-4C830FF2CADD}" srcId="{EE47DE0B-97DC-402B-86EF-273F93468E4E}" destId="{311AD59B-77CB-4082-AD51-B9B5478925AC}" srcOrd="0" destOrd="0" parTransId="{18EFDCD5-3CBF-4320-A5DD-C1F09C585583}" sibTransId="{DAD83F2A-9F91-49C0-B9BE-EB8766B4EF07}"/>
    <dgm:cxn modelId="{CD2702E6-4E33-4041-8FED-0EF4B5018145}" type="presOf" srcId="{A45A900D-449D-4E75-899A-24B5AF0BD0AE}" destId="{8ADA405E-257E-4D72-A351-F0CBF502C7E0}" srcOrd="0" destOrd="0" presId="urn:microsoft.com/office/officeart/2005/8/layout/hList1"/>
    <dgm:cxn modelId="{023209EB-C9BF-4D3C-805B-15517EEE7B15}" type="presOf" srcId="{E12F71A8-77EC-47FD-AE73-3CE01B415F06}" destId="{1A30CB1E-F15C-4D4A-9912-ED777B74C82C}" srcOrd="0" destOrd="0" presId="urn:microsoft.com/office/officeart/2005/8/layout/hList1"/>
    <dgm:cxn modelId="{6F0A79F2-0070-4D31-81C6-B80467EE8473}" srcId="{01142082-1D8A-4AC9-8165-8169F5DD8277}" destId="{54DE2B6B-9C4E-47A6-8EAB-FE816B178108}" srcOrd="0" destOrd="0" parTransId="{781D2649-79F7-474B-B35F-0D330B563F67}" sibTransId="{E8E67E9C-F952-4D05-A6F7-CD3D28BB7484}"/>
    <dgm:cxn modelId="{5233C5A1-15FD-4070-844D-E43C9F43EF0A}" type="presParOf" srcId="{7B592C79-03C7-4F71-8C52-0C9CFEA94BEA}" destId="{CD83CF4F-558B-4BE1-848F-082960718750}" srcOrd="0" destOrd="0" presId="urn:microsoft.com/office/officeart/2005/8/layout/hList1"/>
    <dgm:cxn modelId="{DB37D366-352F-42B8-A3E7-4B7493F66224}" type="presParOf" srcId="{CD83CF4F-558B-4BE1-848F-082960718750}" destId="{B83B48E3-52FC-452C-A77B-B45AED80A4A0}" srcOrd="0" destOrd="0" presId="urn:microsoft.com/office/officeart/2005/8/layout/hList1"/>
    <dgm:cxn modelId="{40EFF14F-8355-4CB9-9784-0568619A22B6}" type="presParOf" srcId="{CD83CF4F-558B-4BE1-848F-082960718750}" destId="{40700FF4-53A5-4568-815E-A446EA88823B}" srcOrd="1" destOrd="0" presId="urn:microsoft.com/office/officeart/2005/8/layout/hList1"/>
    <dgm:cxn modelId="{FC1EB242-C5C2-4F96-A9DB-17D81D59CA95}" type="presParOf" srcId="{7B592C79-03C7-4F71-8C52-0C9CFEA94BEA}" destId="{6A16A2AB-93B2-4DBE-B0F4-58147AB99EF9}" srcOrd="1" destOrd="0" presId="urn:microsoft.com/office/officeart/2005/8/layout/hList1"/>
    <dgm:cxn modelId="{74EFBF9F-B736-48E6-A3A7-FA2900F5ECBC}" type="presParOf" srcId="{7B592C79-03C7-4F71-8C52-0C9CFEA94BEA}" destId="{30CAEF6F-83C6-4D00-8219-5B74F4C67031}" srcOrd="2" destOrd="0" presId="urn:microsoft.com/office/officeart/2005/8/layout/hList1"/>
    <dgm:cxn modelId="{1BE9DC4A-24F3-4C52-8BA6-32E530714601}" type="presParOf" srcId="{30CAEF6F-83C6-4D00-8219-5B74F4C67031}" destId="{8ADA405E-257E-4D72-A351-F0CBF502C7E0}" srcOrd="0" destOrd="0" presId="urn:microsoft.com/office/officeart/2005/8/layout/hList1"/>
    <dgm:cxn modelId="{84080C8E-F9D8-4F42-9FBF-DED431FE7C27}" type="presParOf" srcId="{30CAEF6F-83C6-4D00-8219-5B74F4C67031}" destId="{62279D8D-DDB4-4596-8DA2-EC97B21A20F6}" srcOrd="1" destOrd="0" presId="urn:microsoft.com/office/officeart/2005/8/layout/hList1"/>
    <dgm:cxn modelId="{75C369B9-3591-47B1-A5E8-7FC90DAC9D0C}" type="presParOf" srcId="{7B592C79-03C7-4F71-8C52-0C9CFEA94BEA}" destId="{8D512DDC-51C6-4BF3-8E1A-41581FEF4F8A}" srcOrd="3" destOrd="0" presId="urn:microsoft.com/office/officeart/2005/8/layout/hList1"/>
    <dgm:cxn modelId="{0B77EA5F-2581-4CF7-80C5-60A57FEF0D86}" type="presParOf" srcId="{7B592C79-03C7-4F71-8C52-0C9CFEA94BEA}" destId="{48EC85AC-C7DB-4250-90DF-F37D26201B54}" srcOrd="4" destOrd="0" presId="urn:microsoft.com/office/officeart/2005/8/layout/hList1"/>
    <dgm:cxn modelId="{CF0FB771-E0C0-4EF9-A635-6FD9FF21D773}" type="presParOf" srcId="{48EC85AC-C7DB-4250-90DF-F37D26201B54}" destId="{FBA2DED2-25E1-4E14-BE3C-8F5ACE2C5841}" srcOrd="0" destOrd="0" presId="urn:microsoft.com/office/officeart/2005/8/layout/hList1"/>
    <dgm:cxn modelId="{A733AD41-509B-44F7-A81B-47B36BACAEB7}" type="presParOf" srcId="{48EC85AC-C7DB-4250-90DF-F37D26201B54}" destId="{2BE89F62-9239-4A49-8868-BEA1085FE824}" srcOrd="1" destOrd="0" presId="urn:microsoft.com/office/officeart/2005/8/layout/hList1"/>
    <dgm:cxn modelId="{1FE79247-E584-430B-BED5-B225ECD087C1}" type="presParOf" srcId="{7B592C79-03C7-4F71-8C52-0C9CFEA94BEA}" destId="{D4516754-E445-4091-BB98-3FCC0964D6EE}" srcOrd="5" destOrd="0" presId="urn:microsoft.com/office/officeart/2005/8/layout/hList1"/>
    <dgm:cxn modelId="{B714643B-820C-4E29-BE2D-A79BEB8CC3C5}" type="presParOf" srcId="{7B592C79-03C7-4F71-8C52-0C9CFEA94BEA}" destId="{E625535E-A660-4C21-A735-4F116685741A}" srcOrd="6" destOrd="0" presId="urn:microsoft.com/office/officeart/2005/8/layout/hList1"/>
    <dgm:cxn modelId="{EF36EE4E-74FF-4E72-ADB5-E93ACF02D458}" type="presParOf" srcId="{E625535E-A660-4C21-A735-4F116685741A}" destId="{1A30CB1E-F15C-4D4A-9912-ED777B74C82C}" srcOrd="0" destOrd="0" presId="urn:microsoft.com/office/officeart/2005/8/layout/hList1"/>
    <dgm:cxn modelId="{C2E1C7F9-1E8C-4D8E-8738-93EB14620D92}" type="presParOf" srcId="{E625535E-A660-4C21-A735-4F116685741A}" destId="{802477A5-92BE-4E74-B80F-B8A323B6EC7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Назначить ответственного за исполнением закона зам. министра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endParaRPr lang="ru-RU" dirty="0"/>
        </a:p>
        <a:p>
          <a:r>
            <a:rPr lang="ru-RU" dirty="0"/>
            <a:t>Внести изменения в региональные и локальные НПА</a:t>
          </a:r>
        </a:p>
        <a:p>
          <a:endParaRPr lang="ru-RU" dirty="0"/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Создать региональную</a:t>
          </a:r>
        </a:p>
        <a:p>
          <a:r>
            <a:rPr lang="ru-RU" dirty="0"/>
            <a:t>«Горячую линию» 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Провести аудит региональных мониторингов и запросов с целью минимизации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</dgm:pt>
  </dgm:ptLst>
  <dgm:cxnLst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/>
      <dgm:t>
        <a:bodyPr/>
        <a:lstStyle/>
        <a:p>
          <a:r>
            <a:rPr lang="ru-RU" dirty="0"/>
            <a:t>Приняты поправки в закон «Об образовании»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/>
      <dgm:t>
        <a:bodyPr/>
        <a:lstStyle/>
        <a:p>
          <a:r>
            <a:rPr lang="ru-RU" dirty="0"/>
            <a:t>Издан приказ Минпросвещения России</a:t>
          </a:r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/>
      <dgm:t>
        <a:bodyPr/>
        <a:lstStyle/>
        <a:p>
          <a:r>
            <a:rPr lang="ru-RU" dirty="0"/>
            <a:t>Создана федеральная «Горячая линия»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/>
      <dgm:t>
        <a:bodyPr/>
        <a:lstStyle/>
        <a:p>
          <a:r>
            <a:rPr lang="ru-RU" dirty="0"/>
            <a:t>Ведется работа по формированию номенклатуры дел школы и педагогов всех уровней образования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</dgm:pt>
  </dgm:ptLst>
  <dgm:cxnLst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A7D0FE-C3E5-4CA1-9956-09B8BFB69FF3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82CD41-2904-442B-B644-7755D9195D2D}">
      <dgm:prSet phldrT="[Текст]" custT="1"/>
      <dgm:spPr/>
      <dgm:t>
        <a:bodyPr/>
        <a:lstStyle/>
        <a:p>
          <a:r>
            <a:rPr lang="ru-RU" sz="18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gm:t>
    </dgm:pt>
    <dgm:pt modelId="{B189DFCF-6A5C-4117-83B0-7A5D21AEE132}" type="parTrans" cxnId="{D4230111-18DC-4662-9FAA-73885DA1ECB4}">
      <dgm:prSet/>
      <dgm:spPr/>
      <dgm:t>
        <a:bodyPr/>
        <a:lstStyle/>
        <a:p>
          <a:endParaRPr lang="ru-RU"/>
        </a:p>
      </dgm:t>
    </dgm:pt>
    <dgm:pt modelId="{415ADFB6-AE37-4DBA-9E35-F145543DA178}" type="sibTrans" cxnId="{D4230111-18DC-4662-9FAA-73885DA1ECB4}">
      <dgm:prSet/>
      <dgm:spPr/>
      <dgm:t>
        <a:bodyPr/>
        <a:lstStyle/>
        <a:p>
          <a:endParaRPr lang="ru-RU"/>
        </a:p>
      </dgm:t>
    </dgm:pt>
    <dgm:pt modelId="{FFEFE104-F230-44EA-8788-9009AD49993D}">
      <dgm:prSet phldrT="[Текст]" custT="1"/>
      <dgm:spPr/>
      <dgm:t>
        <a:bodyPr/>
        <a:lstStyle/>
        <a:p>
          <a:r>
            <a:rPr lang="ru-RU" sz="2000" dirty="0"/>
            <a:t>Об основаниях для запросов </a:t>
          </a:r>
        </a:p>
      </dgm:t>
    </dgm:pt>
    <dgm:pt modelId="{20D04A36-5FFC-457B-BDA2-01C109F5B321}" type="parTrans" cxnId="{9D3A4E82-96B9-46BE-A49E-5E26F336A58C}">
      <dgm:prSet/>
      <dgm:spPr/>
      <dgm:t>
        <a:bodyPr/>
        <a:lstStyle/>
        <a:p>
          <a:endParaRPr lang="ru-RU"/>
        </a:p>
      </dgm:t>
    </dgm:pt>
    <dgm:pt modelId="{3D6026A5-E31D-4065-8D36-48506AD45423}" type="sibTrans" cxnId="{9D3A4E82-96B9-46BE-A49E-5E26F336A58C}">
      <dgm:prSet/>
      <dgm:spPr/>
      <dgm:t>
        <a:bodyPr/>
        <a:lstStyle/>
        <a:p>
          <a:endParaRPr lang="ru-RU"/>
        </a:p>
      </dgm:t>
    </dgm:pt>
    <dgm:pt modelId="{E6280418-2414-49C4-AA6B-9310B989F3DB}">
      <dgm:prSet custT="1"/>
      <dgm:spPr>
        <a:solidFill>
          <a:srgbClr val="FFC000"/>
        </a:solidFill>
      </dgm:spPr>
      <dgm:t>
        <a:bodyPr/>
        <a:lstStyle/>
        <a:p>
          <a:r>
            <a:rPr lang="ru-RU" sz="2000" dirty="0"/>
            <a:t>О корректировке определения понятия «Образовательная программа»</a:t>
          </a:r>
        </a:p>
      </dgm:t>
    </dgm:pt>
    <dgm:pt modelId="{023339CF-6DAA-4C6F-9E1C-BC7547368DE5}" type="parTrans" cxnId="{A721F896-4ED5-41DD-B87C-AD0E3421CDE5}">
      <dgm:prSet/>
      <dgm:spPr/>
      <dgm:t>
        <a:bodyPr/>
        <a:lstStyle/>
        <a:p>
          <a:endParaRPr lang="ru-RU"/>
        </a:p>
      </dgm:t>
    </dgm:pt>
    <dgm:pt modelId="{CA683187-8736-47A9-80EC-9E9EB77D5263}" type="sibTrans" cxnId="{A721F896-4ED5-41DD-B87C-AD0E3421CDE5}">
      <dgm:prSet/>
      <dgm:spPr/>
      <dgm:t>
        <a:bodyPr/>
        <a:lstStyle/>
        <a:p>
          <a:endParaRPr lang="ru-RU"/>
        </a:p>
      </dgm:t>
    </dgm:pt>
    <dgm:pt modelId="{C4D9C7EF-28DB-49FB-BCA2-DE501A60231A}">
      <dgm:prSet custT="1"/>
      <dgm:spPr>
        <a:solidFill>
          <a:srgbClr val="FFC000"/>
        </a:solidFill>
      </dgm:spPr>
      <dgm:t>
        <a:bodyPr/>
        <a:lstStyle/>
        <a:p>
          <a:r>
            <a:rPr lang="ru-RU" sz="2000" dirty="0"/>
            <a:t>Об определении понятия «Педагогическая деятельность»</a:t>
          </a:r>
        </a:p>
      </dgm:t>
    </dgm:pt>
    <dgm:pt modelId="{DBD9D5AE-D277-4BA9-8151-480B821B3C0B}" type="parTrans" cxnId="{ED7DA7D3-36A4-42C9-B065-6B73473154A5}">
      <dgm:prSet/>
      <dgm:spPr/>
      <dgm:t>
        <a:bodyPr/>
        <a:lstStyle/>
        <a:p>
          <a:endParaRPr lang="ru-RU"/>
        </a:p>
      </dgm:t>
    </dgm:pt>
    <dgm:pt modelId="{B9623A05-59E5-46BA-8EB5-0EC5ADD31ED6}" type="sibTrans" cxnId="{ED7DA7D3-36A4-42C9-B065-6B73473154A5}">
      <dgm:prSet/>
      <dgm:spPr/>
      <dgm:t>
        <a:bodyPr/>
        <a:lstStyle/>
        <a:p>
          <a:endParaRPr lang="ru-RU"/>
        </a:p>
      </dgm:t>
    </dgm:pt>
    <dgm:pt modelId="{AFB5C504-E848-43C7-A756-75FAB60B4CE8}" type="pres">
      <dgm:prSet presAssocID="{9CA7D0FE-C3E5-4CA1-9956-09B8BFB69FF3}" presName="diagram" presStyleCnt="0">
        <dgm:presLayoutVars>
          <dgm:dir/>
          <dgm:resizeHandles val="exact"/>
        </dgm:presLayoutVars>
      </dgm:prSet>
      <dgm:spPr/>
    </dgm:pt>
    <dgm:pt modelId="{48EA30F4-581D-4A22-BA47-8F4BFE825524}" type="pres">
      <dgm:prSet presAssocID="{3382CD41-2904-442B-B644-7755D9195D2D}" presName="node" presStyleLbl="node1" presStyleIdx="0" presStyleCnt="4">
        <dgm:presLayoutVars>
          <dgm:bulletEnabled val="1"/>
        </dgm:presLayoutVars>
      </dgm:prSet>
      <dgm:spPr/>
    </dgm:pt>
    <dgm:pt modelId="{6C8D2D5E-E0C7-4E21-A96E-A65A8F981942}" type="pres">
      <dgm:prSet presAssocID="{415ADFB6-AE37-4DBA-9E35-F145543DA178}" presName="sibTrans" presStyleCnt="0"/>
      <dgm:spPr/>
    </dgm:pt>
    <dgm:pt modelId="{287E0992-1B9A-4C5A-A50A-A601B73F9E4E}" type="pres">
      <dgm:prSet presAssocID="{FFEFE104-F230-44EA-8788-9009AD49993D}" presName="node" presStyleLbl="node1" presStyleIdx="1" presStyleCnt="4" custLinFactNeighborX="26" custLinFactNeighborY="1134">
        <dgm:presLayoutVars>
          <dgm:bulletEnabled val="1"/>
        </dgm:presLayoutVars>
      </dgm:prSet>
      <dgm:spPr/>
    </dgm:pt>
    <dgm:pt modelId="{7D5923F3-4AA3-4239-8360-9E10CC00C7CC}" type="pres">
      <dgm:prSet presAssocID="{3D6026A5-E31D-4065-8D36-48506AD45423}" presName="sibTrans" presStyleCnt="0"/>
      <dgm:spPr/>
    </dgm:pt>
    <dgm:pt modelId="{ECC5607D-4A57-46F2-B914-2125A02CC492}" type="pres">
      <dgm:prSet presAssocID="{E6280418-2414-49C4-AA6B-9310B989F3DB}" presName="node" presStyleLbl="node1" presStyleIdx="2" presStyleCnt="4">
        <dgm:presLayoutVars>
          <dgm:bulletEnabled val="1"/>
        </dgm:presLayoutVars>
      </dgm:prSet>
      <dgm:spPr/>
    </dgm:pt>
    <dgm:pt modelId="{54D1FCCA-BE81-4652-BC3D-5BFC089BBAD8}" type="pres">
      <dgm:prSet presAssocID="{CA683187-8736-47A9-80EC-9E9EB77D5263}" presName="sibTrans" presStyleCnt="0"/>
      <dgm:spPr/>
    </dgm:pt>
    <dgm:pt modelId="{64ABEC80-F1A3-4CE6-AE5B-D8214C293F76}" type="pres">
      <dgm:prSet presAssocID="{C4D9C7EF-28DB-49FB-BCA2-DE501A60231A}" presName="node" presStyleLbl="node1" presStyleIdx="3" presStyleCnt="4">
        <dgm:presLayoutVars>
          <dgm:bulletEnabled val="1"/>
        </dgm:presLayoutVars>
      </dgm:prSet>
      <dgm:spPr/>
    </dgm:pt>
  </dgm:ptLst>
  <dgm:cxnLst>
    <dgm:cxn modelId="{D4230111-18DC-4662-9FAA-73885DA1ECB4}" srcId="{9CA7D0FE-C3E5-4CA1-9956-09B8BFB69FF3}" destId="{3382CD41-2904-442B-B644-7755D9195D2D}" srcOrd="0" destOrd="0" parTransId="{B189DFCF-6A5C-4117-83B0-7A5D21AEE132}" sibTransId="{415ADFB6-AE37-4DBA-9E35-F145543DA178}"/>
    <dgm:cxn modelId="{31D9893E-2AAE-4189-8716-15BC3364B58E}" type="presOf" srcId="{E6280418-2414-49C4-AA6B-9310B989F3DB}" destId="{ECC5607D-4A57-46F2-B914-2125A02CC492}" srcOrd="0" destOrd="0" presId="urn:microsoft.com/office/officeart/2005/8/layout/default"/>
    <dgm:cxn modelId="{7251E843-344A-4269-B994-E3046005944C}" type="presOf" srcId="{FFEFE104-F230-44EA-8788-9009AD49993D}" destId="{287E0992-1B9A-4C5A-A50A-A601B73F9E4E}" srcOrd="0" destOrd="0" presId="urn:microsoft.com/office/officeart/2005/8/layout/default"/>
    <dgm:cxn modelId="{3F53325C-5A78-494C-B779-2A3234A362C7}" type="presOf" srcId="{3382CD41-2904-442B-B644-7755D9195D2D}" destId="{48EA30F4-581D-4A22-BA47-8F4BFE825524}" srcOrd="0" destOrd="0" presId="urn:microsoft.com/office/officeart/2005/8/layout/default"/>
    <dgm:cxn modelId="{9D3A4E82-96B9-46BE-A49E-5E26F336A58C}" srcId="{9CA7D0FE-C3E5-4CA1-9956-09B8BFB69FF3}" destId="{FFEFE104-F230-44EA-8788-9009AD49993D}" srcOrd="1" destOrd="0" parTransId="{20D04A36-5FFC-457B-BDA2-01C109F5B321}" sibTransId="{3D6026A5-E31D-4065-8D36-48506AD45423}"/>
    <dgm:cxn modelId="{A721F896-4ED5-41DD-B87C-AD0E3421CDE5}" srcId="{9CA7D0FE-C3E5-4CA1-9956-09B8BFB69FF3}" destId="{E6280418-2414-49C4-AA6B-9310B989F3DB}" srcOrd="2" destOrd="0" parTransId="{023339CF-6DAA-4C6F-9E1C-BC7547368DE5}" sibTransId="{CA683187-8736-47A9-80EC-9E9EB77D5263}"/>
    <dgm:cxn modelId="{A3DE54A1-5021-4194-99CB-B51851E33920}" type="presOf" srcId="{9CA7D0FE-C3E5-4CA1-9956-09B8BFB69FF3}" destId="{AFB5C504-E848-43C7-A756-75FAB60B4CE8}" srcOrd="0" destOrd="0" presId="urn:microsoft.com/office/officeart/2005/8/layout/default"/>
    <dgm:cxn modelId="{ED7DA7D3-36A4-42C9-B065-6B73473154A5}" srcId="{9CA7D0FE-C3E5-4CA1-9956-09B8BFB69FF3}" destId="{C4D9C7EF-28DB-49FB-BCA2-DE501A60231A}" srcOrd="3" destOrd="0" parTransId="{DBD9D5AE-D277-4BA9-8151-480B821B3C0B}" sibTransId="{B9623A05-59E5-46BA-8EB5-0EC5ADD31ED6}"/>
    <dgm:cxn modelId="{31C4A6FF-FDAC-4B27-AEE6-D364EB38DC3B}" type="presOf" srcId="{C4D9C7EF-28DB-49FB-BCA2-DE501A60231A}" destId="{64ABEC80-F1A3-4CE6-AE5B-D8214C293F76}" srcOrd="0" destOrd="0" presId="urn:microsoft.com/office/officeart/2005/8/layout/default"/>
    <dgm:cxn modelId="{C7A24DC6-2F91-4E6F-B388-48D64D447BA5}" type="presParOf" srcId="{AFB5C504-E848-43C7-A756-75FAB60B4CE8}" destId="{48EA30F4-581D-4A22-BA47-8F4BFE825524}" srcOrd="0" destOrd="0" presId="urn:microsoft.com/office/officeart/2005/8/layout/default"/>
    <dgm:cxn modelId="{9CA0B66A-495B-433E-A21F-C0A503BE6C8A}" type="presParOf" srcId="{AFB5C504-E848-43C7-A756-75FAB60B4CE8}" destId="{6C8D2D5E-E0C7-4E21-A96E-A65A8F981942}" srcOrd="1" destOrd="0" presId="urn:microsoft.com/office/officeart/2005/8/layout/default"/>
    <dgm:cxn modelId="{D9557D7D-6942-4EAC-9E9E-E7D7F14AE502}" type="presParOf" srcId="{AFB5C504-E848-43C7-A756-75FAB60B4CE8}" destId="{287E0992-1B9A-4C5A-A50A-A601B73F9E4E}" srcOrd="2" destOrd="0" presId="urn:microsoft.com/office/officeart/2005/8/layout/default"/>
    <dgm:cxn modelId="{B317ABC1-240C-4D67-9424-5C29CF7DFFC8}" type="presParOf" srcId="{AFB5C504-E848-43C7-A756-75FAB60B4CE8}" destId="{7D5923F3-4AA3-4239-8360-9E10CC00C7CC}" srcOrd="3" destOrd="0" presId="urn:microsoft.com/office/officeart/2005/8/layout/default"/>
    <dgm:cxn modelId="{D7220B7E-4332-4EE1-BBAB-41764CFB8EAC}" type="presParOf" srcId="{AFB5C504-E848-43C7-A756-75FAB60B4CE8}" destId="{ECC5607D-4A57-46F2-B914-2125A02CC492}" srcOrd="4" destOrd="0" presId="urn:microsoft.com/office/officeart/2005/8/layout/default"/>
    <dgm:cxn modelId="{3E37146F-585C-4DD2-B76E-9B01F89008F7}" type="presParOf" srcId="{AFB5C504-E848-43C7-A756-75FAB60B4CE8}" destId="{54D1FCCA-BE81-4652-BC3D-5BFC089BBAD8}" srcOrd="5" destOrd="0" presId="urn:microsoft.com/office/officeart/2005/8/layout/default"/>
    <dgm:cxn modelId="{C1A6ADF8-2D73-4069-A6E0-D141A2E18A90}" type="presParOf" srcId="{AFB5C504-E848-43C7-A756-75FAB60B4CE8}" destId="{64ABEC80-F1A3-4CE6-AE5B-D8214C293F76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54651FC-541B-4AA6-B782-736662C313AE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DEDD7B8-E25F-4BF5-86AA-D553B1FADF51}">
      <dgm:prSet phldrT="[Текст]" custT="1"/>
      <dgm:spPr/>
      <dgm:t>
        <a:bodyPr/>
        <a:lstStyle/>
        <a:p>
          <a:endParaRPr lang="ru-RU" sz="1400" b="1" dirty="0"/>
        </a:p>
        <a:p>
          <a:r>
            <a:rPr lang="ru-RU" sz="1600" b="0" dirty="0"/>
            <a:t>Анализ запросов, приводящих к необходимости дополнительных документов  </a:t>
          </a:r>
        </a:p>
        <a:p>
          <a:endParaRPr lang="ru-RU" sz="1800" b="0" dirty="0"/>
        </a:p>
      </dgm:t>
    </dgm:pt>
    <dgm:pt modelId="{98A2CDE7-30CD-4A34-ABA4-4F22FDA7F205}" type="parTrans" cxnId="{7459010C-72E2-4EDE-818E-20A3912D32FC}">
      <dgm:prSet/>
      <dgm:spPr/>
      <dgm:t>
        <a:bodyPr/>
        <a:lstStyle/>
        <a:p>
          <a:endParaRPr lang="ru-RU"/>
        </a:p>
      </dgm:t>
    </dgm:pt>
    <dgm:pt modelId="{DD2C19BA-CFCF-47A0-841D-D412F3E2A6AA}" type="sibTrans" cxnId="{7459010C-72E2-4EDE-818E-20A3912D32FC}">
      <dgm:prSet/>
      <dgm:spPr/>
      <dgm:t>
        <a:bodyPr/>
        <a:lstStyle/>
        <a:p>
          <a:endParaRPr lang="ru-RU"/>
        </a:p>
      </dgm:t>
    </dgm:pt>
    <dgm:pt modelId="{5A109834-0482-4FE4-9D86-24663A2DDA14}">
      <dgm:prSet phldrT="[Текст]" custT="1"/>
      <dgm:spPr/>
      <dgm:t>
        <a:bodyPr/>
        <a:lstStyle/>
        <a:p>
          <a:endParaRPr lang="ru-RU" sz="1400" b="1" dirty="0"/>
        </a:p>
        <a:p>
          <a:r>
            <a:rPr lang="ru-RU" sz="1800" b="0" dirty="0"/>
            <a:t>Анализ мониторингов </a:t>
          </a:r>
        </a:p>
      </dgm:t>
    </dgm:pt>
    <dgm:pt modelId="{1CE0B6CB-5368-448A-B7B4-5DB5955EFEB8}" type="parTrans" cxnId="{DDB1658C-C09A-4936-BE08-4F2A64C9BD63}">
      <dgm:prSet/>
      <dgm:spPr/>
      <dgm:t>
        <a:bodyPr/>
        <a:lstStyle/>
        <a:p>
          <a:endParaRPr lang="ru-RU"/>
        </a:p>
      </dgm:t>
    </dgm:pt>
    <dgm:pt modelId="{29530ED4-09C3-466D-920E-4584FB1E82FE}" type="sibTrans" cxnId="{DDB1658C-C09A-4936-BE08-4F2A64C9BD63}">
      <dgm:prSet/>
      <dgm:spPr/>
      <dgm:t>
        <a:bodyPr/>
        <a:lstStyle/>
        <a:p>
          <a:endParaRPr lang="ru-RU"/>
        </a:p>
      </dgm:t>
    </dgm:pt>
    <dgm:pt modelId="{1B3C4D82-5438-4891-AD87-EA5C6DD2DAB8}">
      <dgm:prSet phldrT="[Текст]" custT="1"/>
      <dgm:spPr/>
      <dgm:t>
        <a:bodyPr/>
        <a:lstStyle/>
        <a:p>
          <a:r>
            <a:rPr lang="ru-RU" sz="1600" b="0" dirty="0"/>
            <a:t>Анализ</a:t>
          </a:r>
          <a:r>
            <a:rPr lang="ru-RU" sz="1600" b="0" baseline="0" dirty="0"/>
            <a:t> данных информационных систем </a:t>
          </a:r>
          <a:endParaRPr lang="ru-RU" sz="1600" b="0" dirty="0"/>
        </a:p>
      </dgm:t>
    </dgm:pt>
    <dgm:pt modelId="{7D943569-5572-4F6D-87DA-192B846AC5B8}" type="parTrans" cxnId="{B21866DC-A1E0-4311-B925-E1A8CB169A8E}">
      <dgm:prSet/>
      <dgm:spPr/>
      <dgm:t>
        <a:bodyPr/>
        <a:lstStyle/>
        <a:p>
          <a:endParaRPr lang="ru-RU"/>
        </a:p>
      </dgm:t>
    </dgm:pt>
    <dgm:pt modelId="{542B101F-0C7A-4232-8563-752130EB1D9D}" type="sibTrans" cxnId="{B21866DC-A1E0-4311-B925-E1A8CB169A8E}">
      <dgm:prSet/>
      <dgm:spPr/>
      <dgm:t>
        <a:bodyPr/>
        <a:lstStyle/>
        <a:p>
          <a:endParaRPr lang="ru-RU"/>
        </a:p>
      </dgm:t>
    </dgm:pt>
    <dgm:pt modelId="{A6E5FE52-3023-44C2-931B-6D33F7BDDDA1}">
      <dgm:prSet phldrT="[Текст]" custT="1"/>
      <dgm:spPr/>
      <dgm:t>
        <a:bodyPr/>
        <a:lstStyle/>
        <a:p>
          <a:r>
            <a:rPr lang="ru-RU" sz="1600" dirty="0"/>
            <a:t>Подготовка сокращенных перечней мониторингов, показателей, данных в ИС</a:t>
          </a:r>
        </a:p>
      </dgm:t>
    </dgm:pt>
    <dgm:pt modelId="{AA5E0738-9072-4405-B199-0B24AD288257}" type="parTrans" cxnId="{5C097BE0-33E3-44D6-A78C-62D061BC6F54}">
      <dgm:prSet/>
      <dgm:spPr/>
      <dgm:t>
        <a:bodyPr/>
        <a:lstStyle/>
        <a:p>
          <a:endParaRPr lang="ru-RU"/>
        </a:p>
      </dgm:t>
    </dgm:pt>
    <dgm:pt modelId="{919E2470-2223-41FE-89E4-85B2AD9D17F4}" type="sibTrans" cxnId="{5C097BE0-33E3-44D6-A78C-62D061BC6F54}">
      <dgm:prSet/>
      <dgm:spPr/>
      <dgm:t>
        <a:bodyPr/>
        <a:lstStyle/>
        <a:p>
          <a:endParaRPr lang="ru-RU"/>
        </a:p>
      </dgm:t>
    </dgm:pt>
    <dgm:pt modelId="{03CF60BD-F706-4AB6-956C-9ACC6188D0F8}">
      <dgm:prSet/>
      <dgm:spPr/>
      <dgm:t>
        <a:bodyPr/>
        <a:lstStyle/>
        <a:p>
          <a:r>
            <a:rPr lang="ru-RU" dirty="0"/>
            <a:t>Актуализация локальных актов </a:t>
          </a:r>
        </a:p>
      </dgm:t>
    </dgm:pt>
    <dgm:pt modelId="{F0CCE60B-1091-430C-979E-9CFC72CB8A78}" type="parTrans" cxnId="{736200CE-0380-4780-B7B2-5AAC9E740A91}">
      <dgm:prSet/>
      <dgm:spPr/>
      <dgm:t>
        <a:bodyPr/>
        <a:lstStyle/>
        <a:p>
          <a:endParaRPr lang="ru-RU"/>
        </a:p>
      </dgm:t>
    </dgm:pt>
    <dgm:pt modelId="{E33782FE-8CC5-49AC-8D12-517BE6BFAF71}" type="sibTrans" cxnId="{736200CE-0380-4780-B7B2-5AAC9E740A91}">
      <dgm:prSet/>
      <dgm:spPr/>
      <dgm:t>
        <a:bodyPr/>
        <a:lstStyle/>
        <a:p>
          <a:endParaRPr lang="ru-RU"/>
        </a:p>
      </dgm:t>
    </dgm:pt>
    <dgm:pt modelId="{9B1CFFF1-A5BF-43CC-9E6E-7451017625E7}">
      <dgm:prSet/>
      <dgm:spPr/>
      <dgm:t>
        <a:bodyPr/>
        <a:lstStyle/>
        <a:p>
          <a:r>
            <a:rPr lang="ru-RU" dirty="0"/>
            <a:t>Апробация перечней документации </a:t>
          </a:r>
        </a:p>
      </dgm:t>
    </dgm:pt>
    <dgm:pt modelId="{743B3090-C62D-47C9-BA91-DF3964F1D971}" type="parTrans" cxnId="{F0963490-5813-40F6-87DB-03FDBEA11DC7}">
      <dgm:prSet/>
      <dgm:spPr/>
      <dgm:t>
        <a:bodyPr/>
        <a:lstStyle/>
        <a:p>
          <a:endParaRPr lang="ru-RU"/>
        </a:p>
      </dgm:t>
    </dgm:pt>
    <dgm:pt modelId="{1947DC29-68A7-43DC-B291-F99EF788B095}" type="sibTrans" cxnId="{F0963490-5813-40F6-87DB-03FDBEA11DC7}">
      <dgm:prSet/>
      <dgm:spPr/>
      <dgm:t>
        <a:bodyPr/>
        <a:lstStyle/>
        <a:p>
          <a:endParaRPr lang="ru-RU"/>
        </a:p>
      </dgm:t>
    </dgm:pt>
    <dgm:pt modelId="{65F130A0-15F9-4D5B-8A6C-0A15CA178099}">
      <dgm:prSet/>
      <dgm:spPr/>
      <dgm:t>
        <a:bodyPr/>
        <a:lstStyle/>
        <a:p>
          <a:r>
            <a:rPr lang="ru-RU" dirty="0"/>
            <a:t>Разработка</a:t>
          </a:r>
          <a:r>
            <a:rPr lang="ru-RU" baseline="0" dirty="0"/>
            <a:t> типовых форм документов </a:t>
          </a:r>
          <a:endParaRPr lang="ru-RU" dirty="0"/>
        </a:p>
      </dgm:t>
    </dgm:pt>
    <dgm:pt modelId="{3616779E-B431-45FE-82C1-7F58164360A3}" type="parTrans" cxnId="{E953F17A-5665-46BA-9F96-32C51874D0B6}">
      <dgm:prSet/>
      <dgm:spPr/>
      <dgm:t>
        <a:bodyPr/>
        <a:lstStyle/>
        <a:p>
          <a:endParaRPr lang="ru-RU"/>
        </a:p>
      </dgm:t>
    </dgm:pt>
    <dgm:pt modelId="{815C3042-F4E7-4B26-87BD-AA4E10DB0956}" type="sibTrans" cxnId="{E953F17A-5665-46BA-9F96-32C51874D0B6}">
      <dgm:prSet/>
      <dgm:spPr/>
      <dgm:t>
        <a:bodyPr/>
        <a:lstStyle/>
        <a:p>
          <a:endParaRPr lang="ru-RU"/>
        </a:p>
      </dgm:t>
    </dgm:pt>
    <dgm:pt modelId="{A93E75FE-0B90-469F-B6FD-ABE97B646AF6}">
      <dgm:prSet/>
      <dgm:spPr/>
      <dgm:t>
        <a:bodyPr/>
        <a:lstStyle/>
        <a:p>
          <a:r>
            <a:rPr lang="ru-RU" dirty="0"/>
            <a:t>Подготовка предложений по доработке своих ИС</a:t>
          </a:r>
        </a:p>
      </dgm:t>
    </dgm:pt>
    <dgm:pt modelId="{C65D9C39-08FC-4932-BD77-F7923B5846D3}" type="parTrans" cxnId="{47B81B3A-228C-4E95-9D94-BB36FC94BC4D}">
      <dgm:prSet/>
      <dgm:spPr/>
      <dgm:t>
        <a:bodyPr/>
        <a:lstStyle/>
        <a:p>
          <a:endParaRPr lang="ru-RU"/>
        </a:p>
      </dgm:t>
    </dgm:pt>
    <dgm:pt modelId="{BCD2ED94-318F-4D5A-A114-E560E51A7D79}" type="sibTrans" cxnId="{47B81B3A-228C-4E95-9D94-BB36FC94BC4D}">
      <dgm:prSet/>
      <dgm:spPr/>
      <dgm:t>
        <a:bodyPr/>
        <a:lstStyle/>
        <a:p>
          <a:endParaRPr lang="ru-RU"/>
        </a:p>
      </dgm:t>
    </dgm:pt>
    <dgm:pt modelId="{09B696C4-2238-4902-8F07-ABAE5BC21E99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dirty="0"/>
            <a:t>Анализ федеральных программ и документов на предмет избыточности требований к отчетным документам    </a:t>
          </a:r>
        </a:p>
      </dgm:t>
    </dgm:pt>
    <dgm:pt modelId="{2DA7A775-FF5F-415B-812C-3DC5F5488A33}" type="parTrans" cxnId="{ABF27097-10DA-468D-89B3-3893C75D41D2}">
      <dgm:prSet/>
      <dgm:spPr/>
      <dgm:t>
        <a:bodyPr/>
        <a:lstStyle/>
        <a:p>
          <a:endParaRPr lang="ru-RU"/>
        </a:p>
      </dgm:t>
    </dgm:pt>
    <dgm:pt modelId="{09086577-E7FE-413D-B609-1BFDBBC313F0}" type="sibTrans" cxnId="{ABF27097-10DA-468D-89B3-3893C75D41D2}">
      <dgm:prSet/>
      <dgm:spPr/>
      <dgm:t>
        <a:bodyPr/>
        <a:lstStyle/>
        <a:p>
          <a:endParaRPr lang="ru-RU"/>
        </a:p>
      </dgm:t>
    </dgm:pt>
    <dgm:pt modelId="{8B61BEDA-8B0F-482D-882F-FD5CC1882819}">
      <dgm:prSet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3200" b="1" dirty="0"/>
            <a:t>?</a:t>
          </a:r>
        </a:p>
      </dgm:t>
    </dgm:pt>
    <dgm:pt modelId="{4F75AB8D-6791-46B7-A04E-0C9BDF7121C6}" type="parTrans" cxnId="{4EA47ACD-C240-40B0-99B1-810355882D38}">
      <dgm:prSet/>
      <dgm:spPr/>
      <dgm:t>
        <a:bodyPr/>
        <a:lstStyle/>
        <a:p>
          <a:endParaRPr lang="ru-RU"/>
        </a:p>
      </dgm:t>
    </dgm:pt>
    <dgm:pt modelId="{1CA87440-3F8C-4481-BD92-B0D53CAEAB64}" type="sibTrans" cxnId="{4EA47ACD-C240-40B0-99B1-810355882D38}">
      <dgm:prSet/>
      <dgm:spPr/>
      <dgm:t>
        <a:bodyPr/>
        <a:lstStyle/>
        <a:p>
          <a:endParaRPr lang="ru-RU"/>
        </a:p>
      </dgm:t>
    </dgm:pt>
    <dgm:pt modelId="{2D35B4A0-51C9-4BD8-B00A-C1491DAD8E8A}" type="pres">
      <dgm:prSet presAssocID="{B54651FC-541B-4AA6-B782-736662C313AE}" presName="diagram" presStyleCnt="0">
        <dgm:presLayoutVars>
          <dgm:dir/>
          <dgm:resizeHandles val="exact"/>
        </dgm:presLayoutVars>
      </dgm:prSet>
      <dgm:spPr/>
    </dgm:pt>
    <dgm:pt modelId="{8975E608-624A-4EF5-A53C-B8F9AFEBA39F}" type="pres">
      <dgm:prSet presAssocID="{9B1CFFF1-A5BF-43CC-9E6E-7451017625E7}" presName="node" presStyleLbl="node1" presStyleIdx="0" presStyleCnt="10">
        <dgm:presLayoutVars>
          <dgm:bulletEnabled val="1"/>
        </dgm:presLayoutVars>
      </dgm:prSet>
      <dgm:spPr/>
    </dgm:pt>
    <dgm:pt modelId="{5ED3F5DC-673B-4CF9-9F77-824E69C8BCCD}" type="pres">
      <dgm:prSet presAssocID="{1947DC29-68A7-43DC-B291-F99EF788B095}" presName="sibTrans" presStyleCnt="0"/>
      <dgm:spPr/>
    </dgm:pt>
    <dgm:pt modelId="{41D6C782-42EC-41DA-9DAE-1285AF39D2E1}" type="pres">
      <dgm:prSet presAssocID="{65F130A0-15F9-4D5B-8A6C-0A15CA178099}" presName="node" presStyleLbl="node1" presStyleIdx="1" presStyleCnt="10">
        <dgm:presLayoutVars>
          <dgm:bulletEnabled val="1"/>
        </dgm:presLayoutVars>
      </dgm:prSet>
      <dgm:spPr/>
    </dgm:pt>
    <dgm:pt modelId="{B67042FA-CEDB-4ACA-9225-C5F1AE1631BA}" type="pres">
      <dgm:prSet presAssocID="{815C3042-F4E7-4B26-87BD-AA4E10DB0956}" presName="sibTrans" presStyleCnt="0"/>
      <dgm:spPr/>
    </dgm:pt>
    <dgm:pt modelId="{4C973F50-DD87-41DB-80E4-ABD1BA916BE2}" type="pres">
      <dgm:prSet presAssocID="{5DEDD7B8-E25F-4BF5-86AA-D553B1FADF51}" presName="node" presStyleLbl="node1" presStyleIdx="2" presStyleCnt="10">
        <dgm:presLayoutVars>
          <dgm:bulletEnabled val="1"/>
        </dgm:presLayoutVars>
      </dgm:prSet>
      <dgm:spPr/>
    </dgm:pt>
    <dgm:pt modelId="{6A5A5E36-5A1D-44B0-8858-D3F81A913046}" type="pres">
      <dgm:prSet presAssocID="{DD2C19BA-CFCF-47A0-841D-D412F3E2A6AA}" presName="sibTrans" presStyleCnt="0"/>
      <dgm:spPr/>
    </dgm:pt>
    <dgm:pt modelId="{D81CD15F-B0D2-4693-9C25-4E0E71CB65BB}" type="pres">
      <dgm:prSet presAssocID="{5A109834-0482-4FE4-9D86-24663A2DDA14}" presName="node" presStyleLbl="node1" presStyleIdx="3" presStyleCnt="10">
        <dgm:presLayoutVars>
          <dgm:bulletEnabled val="1"/>
        </dgm:presLayoutVars>
      </dgm:prSet>
      <dgm:spPr/>
    </dgm:pt>
    <dgm:pt modelId="{FC7A80C7-3DA2-44D1-8C43-381109CA12DA}" type="pres">
      <dgm:prSet presAssocID="{29530ED4-09C3-466D-920E-4584FB1E82FE}" presName="sibTrans" presStyleCnt="0"/>
      <dgm:spPr/>
    </dgm:pt>
    <dgm:pt modelId="{B16869D2-D188-49C6-A7EB-80C9512BF2A4}" type="pres">
      <dgm:prSet presAssocID="{1B3C4D82-5438-4891-AD87-EA5C6DD2DAB8}" presName="node" presStyleLbl="node1" presStyleIdx="4" presStyleCnt="10">
        <dgm:presLayoutVars>
          <dgm:bulletEnabled val="1"/>
        </dgm:presLayoutVars>
      </dgm:prSet>
      <dgm:spPr/>
    </dgm:pt>
    <dgm:pt modelId="{68A3FDC5-C4E6-443D-B47C-2BC20EC381C1}" type="pres">
      <dgm:prSet presAssocID="{542B101F-0C7A-4232-8563-752130EB1D9D}" presName="sibTrans" presStyleCnt="0"/>
      <dgm:spPr/>
    </dgm:pt>
    <dgm:pt modelId="{1EADCB19-031B-4A9C-A316-CA23FB10DAA4}" type="pres">
      <dgm:prSet presAssocID="{A6E5FE52-3023-44C2-931B-6D33F7BDDDA1}" presName="node" presStyleLbl="node1" presStyleIdx="5" presStyleCnt="10">
        <dgm:presLayoutVars>
          <dgm:bulletEnabled val="1"/>
        </dgm:presLayoutVars>
      </dgm:prSet>
      <dgm:spPr/>
    </dgm:pt>
    <dgm:pt modelId="{52964366-2C5E-47ED-B218-72577ECFAD48}" type="pres">
      <dgm:prSet presAssocID="{919E2470-2223-41FE-89E4-85B2AD9D17F4}" presName="sibTrans" presStyleCnt="0"/>
      <dgm:spPr/>
    </dgm:pt>
    <dgm:pt modelId="{C25BB5FC-E9E7-425F-B5F9-1D93711D2C33}" type="pres">
      <dgm:prSet presAssocID="{03CF60BD-F706-4AB6-956C-9ACC6188D0F8}" presName="node" presStyleLbl="node1" presStyleIdx="6" presStyleCnt="10">
        <dgm:presLayoutVars>
          <dgm:bulletEnabled val="1"/>
        </dgm:presLayoutVars>
      </dgm:prSet>
      <dgm:spPr/>
    </dgm:pt>
    <dgm:pt modelId="{9A919E6C-9D86-4039-BA39-5283DC704E78}" type="pres">
      <dgm:prSet presAssocID="{E33782FE-8CC5-49AC-8D12-517BE6BFAF71}" presName="sibTrans" presStyleCnt="0"/>
      <dgm:spPr/>
    </dgm:pt>
    <dgm:pt modelId="{B4FB143A-90F6-4BB6-9A84-2343A93256FF}" type="pres">
      <dgm:prSet presAssocID="{A93E75FE-0B90-469F-B6FD-ABE97B646AF6}" presName="node" presStyleLbl="node1" presStyleIdx="7" presStyleCnt="10">
        <dgm:presLayoutVars>
          <dgm:bulletEnabled val="1"/>
        </dgm:presLayoutVars>
      </dgm:prSet>
      <dgm:spPr/>
    </dgm:pt>
    <dgm:pt modelId="{486C329A-225B-44E5-A50C-7EA04FE9FA71}" type="pres">
      <dgm:prSet presAssocID="{BCD2ED94-318F-4D5A-A114-E560E51A7D79}" presName="sibTrans" presStyleCnt="0"/>
      <dgm:spPr/>
    </dgm:pt>
    <dgm:pt modelId="{A90AF945-4282-486F-832F-0E851AB6CD91}" type="pres">
      <dgm:prSet presAssocID="{09B696C4-2238-4902-8F07-ABAE5BC21E99}" presName="node" presStyleLbl="node1" presStyleIdx="8" presStyleCnt="10">
        <dgm:presLayoutVars>
          <dgm:bulletEnabled val="1"/>
        </dgm:presLayoutVars>
      </dgm:prSet>
      <dgm:spPr/>
    </dgm:pt>
    <dgm:pt modelId="{1A4679E8-8B1F-4BB4-971F-88559FCDDC0E}" type="pres">
      <dgm:prSet presAssocID="{09086577-E7FE-413D-B609-1BFDBBC313F0}" presName="sibTrans" presStyleCnt="0"/>
      <dgm:spPr/>
    </dgm:pt>
    <dgm:pt modelId="{8968FF37-B46E-4BC4-918C-7948F2CA18F2}" type="pres">
      <dgm:prSet presAssocID="{8B61BEDA-8B0F-482D-882F-FD5CC1882819}" presName="node" presStyleLbl="node1" presStyleIdx="9" presStyleCnt="10">
        <dgm:presLayoutVars>
          <dgm:bulletEnabled val="1"/>
        </dgm:presLayoutVars>
      </dgm:prSet>
      <dgm:spPr/>
    </dgm:pt>
  </dgm:ptLst>
  <dgm:cxnLst>
    <dgm:cxn modelId="{2906F902-E646-4528-B539-0CAE7E646347}" type="presOf" srcId="{B54651FC-541B-4AA6-B782-736662C313AE}" destId="{2D35B4A0-51C9-4BD8-B00A-C1491DAD8E8A}" srcOrd="0" destOrd="0" presId="urn:microsoft.com/office/officeart/2005/8/layout/default"/>
    <dgm:cxn modelId="{7459010C-72E2-4EDE-818E-20A3912D32FC}" srcId="{B54651FC-541B-4AA6-B782-736662C313AE}" destId="{5DEDD7B8-E25F-4BF5-86AA-D553B1FADF51}" srcOrd="2" destOrd="0" parTransId="{98A2CDE7-30CD-4A34-ABA4-4F22FDA7F205}" sibTransId="{DD2C19BA-CFCF-47A0-841D-D412F3E2A6AA}"/>
    <dgm:cxn modelId="{75440A11-AAE4-4FCA-AB80-31587C68E371}" type="presOf" srcId="{A6E5FE52-3023-44C2-931B-6D33F7BDDDA1}" destId="{1EADCB19-031B-4A9C-A316-CA23FB10DAA4}" srcOrd="0" destOrd="0" presId="urn:microsoft.com/office/officeart/2005/8/layout/default"/>
    <dgm:cxn modelId="{47B81B3A-228C-4E95-9D94-BB36FC94BC4D}" srcId="{B54651FC-541B-4AA6-B782-736662C313AE}" destId="{A93E75FE-0B90-469F-B6FD-ABE97B646AF6}" srcOrd="7" destOrd="0" parTransId="{C65D9C39-08FC-4932-BD77-F7923B5846D3}" sibTransId="{BCD2ED94-318F-4D5A-A114-E560E51A7D79}"/>
    <dgm:cxn modelId="{33DA3E43-ABD0-4359-B2AB-6CED8FC2630F}" type="presOf" srcId="{8B61BEDA-8B0F-482D-882F-FD5CC1882819}" destId="{8968FF37-B46E-4BC4-918C-7948F2CA18F2}" srcOrd="0" destOrd="0" presId="urn:microsoft.com/office/officeart/2005/8/layout/default"/>
    <dgm:cxn modelId="{4B60BA4B-E08E-44FE-878F-5387B9371C22}" type="presOf" srcId="{9B1CFFF1-A5BF-43CC-9E6E-7451017625E7}" destId="{8975E608-624A-4EF5-A53C-B8F9AFEBA39F}" srcOrd="0" destOrd="0" presId="urn:microsoft.com/office/officeart/2005/8/layout/default"/>
    <dgm:cxn modelId="{A21B7971-1ABE-4639-A0F5-B4CCFD9F599F}" type="presOf" srcId="{A93E75FE-0B90-469F-B6FD-ABE97B646AF6}" destId="{B4FB143A-90F6-4BB6-9A84-2343A93256FF}" srcOrd="0" destOrd="0" presId="urn:microsoft.com/office/officeart/2005/8/layout/default"/>
    <dgm:cxn modelId="{D6E2F572-CCC1-4234-B9F0-ACDE0C7B051A}" type="presOf" srcId="{65F130A0-15F9-4D5B-8A6C-0A15CA178099}" destId="{41D6C782-42EC-41DA-9DAE-1285AF39D2E1}" srcOrd="0" destOrd="0" presId="urn:microsoft.com/office/officeart/2005/8/layout/default"/>
    <dgm:cxn modelId="{E953F17A-5665-46BA-9F96-32C51874D0B6}" srcId="{B54651FC-541B-4AA6-B782-736662C313AE}" destId="{65F130A0-15F9-4D5B-8A6C-0A15CA178099}" srcOrd="1" destOrd="0" parTransId="{3616779E-B431-45FE-82C1-7F58164360A3}" sibTransId="{815C3042-F4E7-4B26-87BD-AA4E10DB0956}"/>
    <dgm:cxn modelId="{DDB1658C-C09A-4936-BE08-4F2A64C9BD63}" srcId="{B54651FC-541B-4AA6-B782-736662C313AE}" destId="{5A109834-0482-4FE4-9D86-24663A2DDA14}" srcOrd="3" destOrd="0" parTransId="{1CE0B6CB-5368-448A-B7B4-5DB5955EFEB8}" sibTransId="{29530ED4-09C3-466D-920E-4584FB1E82FE}"/>
    <dgm:cxn modelId="{F0963490-5813-40F6-87DB-03FDBEA11DC7}" srcId="{B54651FC-541B-4AA6-B782-736662C313AE}" destId="{9B1CFFF1-A5BF-43CC-9E6E-7451017625E7}" srcOrd="0" destOrd="0" parTransId="{743B3090-C62D-47C9-BA91-DF3964F1D971}" sibTransId="{1947DC29-68A7-43DC-B291-F99EF788B095}"/>
    <dgm:cxn modelId="{ABF27097-10DA-468D-89B3-3893C75D41D2}" srcId="{B54651FC-541B-4AA6-B782-736662C313AE}" destId="{09B696C4-2238-4902-8F07-ABAE5BC21E99}" srcOrd="8" destOrd="0" parTransId="{2DA7A775-FF5F-415B-812C-3DC5F5488A33}" sibTransId="{09086577-E7FE-413D-B609-1BFDBBC313F0}"/>
    <dgm:cxn modelId="{B711A69F-6D57-4C17-AAB1-E1526C68A85F}" type="presOf" srcId="{5A109834-0482-4FE4-9D86-24663A2DDA14}" destId="{D81CD15F-B0D2-4693-9C25-4E0E71CB65BB}" srcOrd="0" destOrd="0" presId="urn:microsoft.com/office/officeart/2005/8/layout/default"/>
    <dgm:cxn modelId="{151C2FB5-D240-4956-9561-85E15C2BF870}" type="presOf" srcId="{03CF60BD-F706-4AB6-956C-9ACC6188D0F8}" destId="{C25BB5FC-E9E7-425F-B5F9-1D93711D2C33}" srcOrd="0" destOrd="0" presId="urn:microsoft.com/office/officeart/2005/8/layout/default"/>
    <dgm:cxn modelId="{664149BB-8826-4363-BFDB-D68ECE4DE146}" type="presOf" srcId="{1B3C4D82-5438-4891-AD87-EA5C6DD2DAB8}" destId="{B16869D2-D188-49C6-A7EB-80C9512BF2A4}" srcOrd="0" destOrd="0" presId="urn:microsoft.com/office/officeart/2005/8/layout/default"/>
    <dgm:cxn modelId="{2A6E7CCC-8EF3-4434-B2EC-6ABDE30D3055}" type="presOf" srcId="{5DEDD7B8-E25F-4BF5-86AA-D553B1FADF51}" destId="{4C973F50-DD87-41DB-80E4-ABD1BA916BE2}" srcOrd="0" destOrd="0" presId="urn:microsoft.com/office/officeart/2005/8/layout/default"/>
    <dgm:cxn modelId="{4EA47ACD-C240-40B0-99B1-810355882D38}" srcId="{B54651FC-541B-4AA6-B782-736662C313AE}" destId="{8B61BEDA-8B0F-482D-882F-FD5CC1882819}" srcOrd="9" destOrd="0" parTransId="{4F75AB8D-6791-46B7-A04E-0C9BDF7121C6}" sibTransId="{1CA87440-3F8C-4481-BD92-B0D53CAEAB64}"/>
    <dgm:cxn modelId="{736200CE-0380-4780-B7B2-5AAC9E740A91}" srcId="{B54651FC-541B-4AA6-B782-736662C313AE}" destId="{03CF60BD-F706-4AB6-956C-9ACC6188D0F8}" srcOrd="6" destOrd="0" parTransId="{F0CCE60B-1091-430C-979E-9CFC72CB8A78}" sibTransId="{E33782FE-8CC5-49AC-8D12-517BE6BFAF71}"/>
    <dgm:cxn modelId="{ABF5F9CE-D4A3-497C-8525-FA1BDAFDDDDA}" type="presOf" srcId="{09B696C4-2238-4902-8F07-ABAE5BC21E99}" destId="{A90AF945-4282-486F-832F-0E851AB6CD91}" srcOrd="0" destOrd="0" presId="urn:microsoft.com/office/officeart/2005/8/layout/default"/>
    <dgm:cxn modelId="{B21866DC-A1E0-4311-B925-E1A8CB169A8E}" srcId="{B54651FC-541B-4AA6-B782-736662C313AE}" destId="{1B3C4D82-5438-4891-AD87-EA5C6DD2DAB8}" srcOrd="4" destOrd="0" parTransId="{7D943569-5572-4F6D-87DA-192B846AC5B8}" sibTransId="{542B101F-0C7A-4232-8563-752130EB1D9D}"/>
    <dgm:cxn modelId="{5C097BE0-33E3-44D6-A78C-62D061BC6F54}" srcId="{B54651FC-541B-4AA6-B782-736662C313AE}" destId="{A6E5FE52-3023-44C2-931B-6D33F7BDDDA1}" srcOrd="5" destOrd="0" parTransId="{AA5E0738-9072-4405-B199-0B24AD288257}" sibTransId="{919E2470-2223-41FE-89E4-85B2AD9D17F4}"/>
    <dgm:cxn modelId="{BBF598F3-0BC2-4BB1-932E-7DCA6350F09E}" type="presParOf" srcId="{2D35B4A0-51C9-4BD8-B00A-C1491DAD8E8A}" destId="{8975E608-624A-4EF5-A53C-B8F9AFEBA39F}" srcOrd="0" destOrd="0" presId="urn:microsoft.com/office/officeart/2005/8/layout/default"/>
    <dgm:cxn modelId="{D17E18A4-F5BC-4882-866F-B67B9B0275D0}" type="presParOf" srcId="{2D35B4A0-51C9-4BD8-B00A-C1491DAD8E8A}" destId="{5ED3F5DC-673B-4CF9-9F77-824E69C8BCCD}" srcOrd="1" destOrd="0" presId="urn:microsoft.com/office/officeart/2005/8/layout/default"/>
    <dgm:cxn modelId="{44A63929-4376-4507-9106-5AEDA1CF0C30}" type="presParOf" srcId="{2D35B4A0-51C9-4BD8-B00A-C1491DAD8E8A}" destId="{41D6C782-42EC-41DA-9DAE-1285AF39D2E1}" srcOrd="2" destOrd="0" presId="urn:microsoft.com/office/officeart/2005/8/layout/default"/>
    <dgm:cxn modelId="{2A748A3C-31C8-4112-B02F-641CC662F5FC}" type="presParOf" srcId="{2D35B4A0-51C9-4BD8-B00A-C1491DAD8E8A}" destId="{B67042FA-CEDB-4ACA-9225-C5F1AE1631BA}" srcOrd="3" destOrd="0" presId="urn:microsoft.com/office/officeart/2005/8/layout/default"/>
    <dgm:cxn modelId="{22D26328-1C92-48F5-A333-D177EB02A708}" type="presParOf" srcId="{2D35B4A0-51C9-4BD8-B00A-C1491DAD8E8A}" destId="{4C973F50-DD87-41DB-80E4-ABD1BA916BE2}" srcOrd="4" destOrd="0" presId="urn:microsoft.com/office/officeart/2005/8/layout/default"/>
    <dgm:cxn modelId="{D8A64F22-66E5-4485-8F6A-9627719C400C}" type="presParOf" srcId="{2D35B4A0-51C9-4BD8-B00A-C1491DAD8E8A}" destId="{6A5A5E36-5A1D-44B0-8858-D3F81A913046}" srcOrd="5" destOrd="0" presId="urn:microsoft.com/office/officeart/2005/8/layout/default"/>
    <dgm:cxn modelId="{BBAD5FC1-C62B-4015-A5FD-C210716216FD}" type="presParOf" srcId="{2D35B4A0-51C9-4BD8-B00A-C1491DAD8E8A}" destId="{D81CD15F-B0D2-4693-9C25-4E0E71CB65BB}" srcOrd="6" destOrd="0" presId="urn:microsoft.com/office/officeart/2005/8/layout/default"/>
    <dgm:cxn modelId="{CECE81B0-E881-4654-960C-A22AF6CA85F9}" type="presParOf" srcId="{2D35B4A0-51C9-4BD8-B00A-C1491DAD8E8A}" destId="{FC7A80C7-3DA2-44D1-8C43-381109CA12DA}" srcOrd="7" destOrd="0" presId="urn:microsoft.com/office/officeart/2005/8/layout/default"/>
    <dgm:cxn modelId="{2FEB4136-59F6-4856-8878-AEE5F4149CCA}" type="presParOf" srcId="{2D35B4A0-51C9-4BD8-B00A-C1491DAD8E8A}" destId="{B16869D2-D188-49C6-A7EB-80C9512BF2A4}" srcOrd="8" destOrd="0" presId="urn:microsoft.com/office/officeart/2005/8/layout/default"/>
    <dgm:cxn modelId="{04BBA009-6CDA-4BC7-BC2F-304EED1E6B9A}" type="presParOf" srcId="{2D35B4A0-51C9-4BD8-B00A-C1491DAD8E8A}" destId="{68A3FDC5-C4E6-443D-B47C-2BC20EC381C1}" srcOrd="9" destOrd="0" presId="urn:microsoft.com/office/officeart/2005/8/layout/default"/>
    <dgm:cxn modelId="{BFF85425-3078-4F3A-8EAE-FB3BEE124858}" type="presParOf" srcId="{2D35B4A0-51C9-4BD8-B00A-C1491DAD8E8A}" destId="{1EADCB19-031B-4A9C-A316-CA23FB10DAA4}" srcOrd="10" destOrd="0" presId="urn:microsoft.com/office/officeart/2005/8/layout/default"/>
    <dgm:cxn modelId="{CE7526CF-9902-4FC4-B9E4-BFF4594F0E0D}" type="presParOf" srcId="{2D35B4A0-51C9-4BD8-B00A-C1491DAD8E8A}" destId="{52964366-2C5E-47ED-B218-72577ECFAD48}" srcOrd="11" destOrd="0" presId="urn:microsoft.com/office/officeart/2005/8/layout/default"/>
    <dgm:cxn modelId="{D70C3BBA-B68C-42DD-9623-6BAF0548425D}" type="presParOf" srcId="{2D35B4A0-51C9-4BD8-B00A-C1491DAD8E8A}" destId="{C25BB5FC-E9E7-425F-B5F9-1D93711D2C33}" srcOrd="12" destOrd="0" presId="urn:microsoft.com/office/officeart/2005/8/layout/default"/>
    <dgm:cxn modelId="{14B4A444-F74A-4B0E-98C0-26DC2C5B4F9A}" type="presParOf" srcId="{2D35B4A0-51C9-4BD8-B00A-C1491DAD8E8A}" destId="{9A919E6C-9D86-4039-BA39-5283DC704E78}" srcOrd="13" destOrd="0" presId="urn:microsoft.com/office/officeart/2005/8/layout/default"/>
    <dgm:cxn modelId="{F975192F-EC32-4622-94E8-591415B3F026}" type="presParOf" srcId="{2D35B4A0-51C9-4BD8-B00A-C1491DAD8E8A}" destId="{B4FB143A-90F6-4BB6-9A84-2343A93256FF}" srcOrd="14" destOrd="0" presId="urn:microsoft.com/office/officeart/2005/8/layout/default"/>
    <dgm:cxn modelId="{103112C0-5209-425F-B3F6-DB98CDFCABD5}" type="presParOf" srcId="{2D35B4A0-51C9-4BD8-B00A-C1491DAD8E8A}" destId="{486C329A-225B-44E5-A50C-7EA04FE9FA71}" srcOrd="15" destOrd="0" presId="urn:microsoft.com/office/officeart/2005/8/layout/default"/>
    <dgm:cxn modelId="{A0BA9810-739C-4616-BC4B-A5D43CC87F0A}" type="presParOf" srcId="{2D35B4A0-51C9-4BD8-B00A-C1491DAD8E8A}" destId="{A90AF945-4282-486F-832F-0E851AB6CD91}" srcOrd="16" destOrd="0" presId="urn:microsoft.com/office/officeart/2005/8/layout/default"/>
    <dgm:cxn modelId="{979C5862-3E6B-4D31-8B46-11F064B512AE}" type="presParOf" srcId="{2D35B4A0-51C9-4BD8-B00A-C1491DAD8E8A}" destId="{1A4679E8-8B1F-4BB4-971F-88559FCDDC0E}" srcOrd="17" destOrd="0" presId="urn:microsoft.com/office/officeart/2005/8/layout/default"/>
    <dgm:cxn modelId="{DA187368-0693-421A-B0E6-6DF2F32A9ACC}" type="presParOf" srcId="{2D35B4A0-51C9-4BD8-B00A-C1491DAD8E8A}" destId="{8968FF37-B46E-4BC4-918C-7948F2CA18F2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4D9B881D-6E19-4B98-AC7C-BD43D9A872A6}" type="doc">
      <dgm:prSet loTypeId="urn:microsoft.com/office/officeart/2005/8/layout/hierarchy3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777DD7E-8CF6-43CE-9D06-440885941DA5}">
      <dgm:prSet phldrT="[Текст]"/>
      <dgm:spPr/>
      <dgm:t>
        <a:bodyPr/>
        <a:lstStyle/>
        <a:p>
          <a:r>
            <a:rPr lang="ru-RU" dirty="0"/>
            <a:t>РОИВ </a:t>
          </a:r>
        </a:p>
      </dgm:t>
    </dgm:pt>
    <dgm:pt modelId="{D751186D-7A15-443E-9145-E123FA92C06D}" type="parTrans" cxnId="{6EEE4B56-88EE-458C-830A-70BB1B867584}">
      <dgm:prSet/>
      <dgm:spPr/>
      <dgm:t>
        <a:bodyPr/>
        <a:lstStyle/>
        <a:p>
          <a:endParaRPr lang="ru-RU"/>
        </a:p>
      </dgm:t>
    </dgm:pt>
    <dgm:pt modelId="{7E5023B8-D421-43E3-B0B4-45EC462EE702}" type="sibTrans" cxnId="{6EEE4B56-88EE-458C-830A-70BB1B867584}">
      <dgm:prSet/>
      <dgm:spPr/>
      <dgm:t>
        <a:bodyPr/>
        <a:lstStyle/>
        <a:p>
          <a:endParaRPr lang="ru-RU"/>
        </a:p>
      </dgm:t>
    </dgm:pt>
    <dgm:pt modelId="{3265B244-6869-46DB-A90E-96EE06E80F38}">
      <dgm:prSet phldrT="[Текст]"/>
      <dgm:spPr/>
      <dgm:t>
        <a:bodyPr/>
        <a:lstStyle/>
        <a:p>
          <a:r>
            <a:rPr lang="ru-RU" dirty="0"/>
            <a:t>Приказы </a:t>
          </a:r>
        </a:p>
      </dgm:t>
    </dgm:pt>
    <dgm:pt modelId="{049E1DC9-E309-41EA-978E-B515538E4A3D}" type="parTrans" cxnId="{D71CC3E8-0228-42F0-AA6F-D91C0B859A7B}">
      <dgm:prSet/>
      <dgm:spPr/>
      <dgm:t>
        <a:bodyPr/>
        <a:lstStyle/>
        <a:p>
          <a:endParaRPr lang="ru-RU"/>
        </a:p>
      </dgm:t>
    </dgm:pt>
    <dgm:pt modelId="{CE43FDE3-3B7A-40BC-A400-0822BE5CEDF1}" type="sibTrans" cxnId="{D71CC3E8-0228-42F0-AA6F-D91C0B859A7B}">
      <dgm:prSet/>
      <dgm:spPr/>
      <dgm:t>
        <a:bodyPr/>
        <a:lstStyle/>
        <a:p>
          <a:endParaRPr lang="ru-RU"/>
        </a:p>
      </dgm:t>
    </dgm:pt>
    <dgm:pt modelId="{F4D1253C-0E5B-47E1-9848-6AF9E1E15B57}">
      <dgm:prSet phldrT="[Текст]"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377CCDC7-27F9-48F0-BAD0-D80954ED263B}" type="parTrans" cxnId="{DAFD36DE-EA04-49E9-BE56-DA3ED5071B7F}">
      <dgm:prSet/>
      <dgm:spPr/>
      <dgm:t>
        <a:bodyPr/>
        <a:lstStyle/>
        <a:p>
          <a:endParaRPr lang="ru-RU"/>
        </a:p>
      </dgm:t>
    </dgm:pt>
    <dgm:pt modelId="{CD51F0A3-3E57-42FB-AC0D-3F33449C7188}" type="sibTrans" cxnId="{DAFD36DE-EA04-49E9-BE56-DA3ED5071B7F}">
      <dgm:prSet/>
      <dgm:spPr/>
      <dgm:t>
        <a:bodyPr/>
        <a:lstStyle/>
        <a:p>
          <a:endParaRPr lang="ru-RU"/>
        </a:p>
      </dgm:t>
    </dgm:pt>
    <dgm:pt modelId="{33230057-3E59-4633-93A5-E2BCA80FB784}">
      <dgm:prSet phldrT="[Текст]"/>
      <dgm:spPr/>
      <dgm:t>
        <a:bodyPr/>
        <a:lstStyle/>
        <a:p>
          <a:r>
            <a:rPr lang="ru-RU" dirty="0"/>
            <a:t>ОТДЕЛЫ ОБРАЗОВАНИЯ </a:t>
          </a:r>
        </a:p>
      </dgm:t>
    </dgm:pt>
    <dgm:pt modelId="{ADFC647F-E465-42BA-A1E3-E24C78F5B5AA}" type="parTrans" cxnId="{C3510A2D-2178-418D-A0B7-40A39075901C}">
      <dgm:prSet/>
      <dgm:spPr/>
      <dgm:t>
        <a:bodyPr/>
        <a:lstStyle/>
        <a:p>
          <a:endParaRPr lang="ru-RU"/>
        </a:p>
      </dgm:t>
    </dgm:pt>
    <dgm:pt modelId="{10DC11ED-302B-413B-AA41-86B9996868B6}" type="sibTrans" cxnId="{C3510A2D-2178-418D-A0B7-40A39075901C}">
      <dgm:prSet/>
      <dgm:spPr/>
      <dgm:t>
        <a:bodyPr/>
        <a:lstStyle/>
        <a:p>
          <a:endParaRPr lang="ru-RU"/>
        </a:p>
      </dgm:t>
    </dgm:pt>
    <dgm:pt modelId="{5906E0A3-A2FC-43DF-85B1-80CBD12FFD74}">
      <dgm:prSet phldrT="[Текст]"/>
      <dgm:spPr/>
      <dgm:t>
        <a:bodyPr/>
        <a:lstStyle/>
        <a:p>
          <a:r>
            <a:rPr lang="ru-RU" dirty="0"/>
            <a:t>Приказы </a:t>
          </a:r>
        </a:p>
      </dgm:t>
    </dgm:pt>
    <dgm:pt modelId="{492E972C-B865-467B-B6F7-D6E3DA7D304D}" type="parTrans" cxnId="{CA2BDC87-C109-48D3-8454-5BE1B9759D38}">
      <dgm:prSet/>
      <dgm:spPr/>
      <dgm:t>
        <a:bodyPr/>
        <a:lstStyle/>
        <a:p>
          <a:endParaRPr lang="ru-RU"/>
        </a:p>
      </dgm:t>
    </dgm:pt>
    <dgm:pt modelId="{4DB123DE-2E4B-4920-A41C-39E923653120}" type="sibTrans" cxnId="{CA2BDC87-C109-48D3-8454-5BE1B9759D38}">
      <dgm:prSet/>
      <dgm:spPr/>
      <dgm:t>
        <a:bodyPr/>
        <a:lstStyle/>
        <a:p>
          <a:endParaRPr lang="ru-RU"/>
        </a:p>
      </dgm:t>
    </dgm:pt>
    <dgm:pt modelId="{389515DD-8CCF-4E90-85D7-4F50C229D38A}">
      <dgm:prSet phldrT="[Текст]"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62AEB801-866D-40D4-8FB7-2EA5D9D27459}" type="parTrans" cxnId="{B2797585-B3F5-41D4-BD09-10A4EA996EC1}">
      <dgm:prSet/>
      <dgm:spPr/>
      <dgm:t>
        <a:bodyPr/>
        <a:lstStyle/>
        <a:p>
          <a:endParaRPr lang="ru-RU"/>
        </a:p>
      </dgm:t>
    </dgm:pt>
    <dgm:pt modelId="{1E0C8090-C56B-47E3-852B-1FF77E46B342}" type="sibTrans" cxnId="{B2797585-B3F5-41D4-BD09-10A4EA996EC1}">
      <dgm:prSet/>
      <dgm:spPr/>
      <dgm:t>
        <a:bodyPr/>
        <a:lstStyle/>
        <a:p>
          <a:endParaRPr lang="ru-RU"/>
        </a:p>
      </dgm:t>
    </dgm:pt>
    <dgm:pt modelId="{A7D5FC34-902C-4F53-86B9-E1E7C46EF7A6}">
      <dgm:prSet/>
      <dgm:spPr/>
      <dgm:t>
        <a:bodyPr/>
        <a:lstStyle/>
        <a:p>
          <a:r>
            <a:rPr lang="ru-RU" dirty="0"/>
            <a:t>ОБРАЗОВАТЕЛЬНЫЕ ОРГАНИЗАЦИИ </a:t>
          </a:r>
        </a:p>
      </dgm:t>
    </dgm:pt>
    <dgm:pt modelId="{9792E455-5A22-477E-9961-2F5BB008045B}" type="parTrans" cxnId="{5A11E4C5-A1F3-4C62-A826-30EA0EA25BB4}">
      <dgm:prSet/>
      <dgm:spPr/>
      <dgm:t>
        <a:bodyPr/>
        <a:lstStyle/>
        <a:p>
          <a:endParaRPr lang="ru-RU"/>
        </a:p>
      </dgm:t>
    </dgm:pt>
    <dgm:pt modelId="{CA064AE1-1009-4A25-B8F6-A7CA99ABE8AA}" type="sibTrans" cxnId="{5A11E4C5-A1F3-4C62-A826-30EA0EA25BB4}">
      <dgm:prSet/>
      <dgm:spPr/>
      <dgm:t>
        <a:bodyPr/>
        <a:lstStyle/>
        <a:p>
          <a:endParaRPr lang="ru-RU"/>
        </a:p>
      </dgm:t>
    </dgm:pt>
    <dgm:pt modelId="{F8F47862-ABE9-41F5-8543-AE2144F048AB}">
      <dgm:prSet/>
      <dgm:spPr/>
      <dgm:t>
        <a:bodyPr/>
        <a:lstStyle/>
        <a:p>
          <a:r>
            <a:rPr lang="ru-RU" dirty="0"/>
            <a:t>Приказы </a:t>
          </a:r>
        </a:p>
      </dgm:t>
    </dgm:pt>
    <dgm:pt modelId="{55490BAD-ADEC-41EE-85CD-E398BAD1FA2E}" type="parTrans" cxnId="{A198FD03-148B-4A43-81CA-97EE685AF141}">
      <dgm:prSet/>
      <dgm:spPr/>
      <dgm:t>
        <a:bodyPr/>
        <a:lstStyle/>
        <a:p>
          <a:endParaRPr lang="ru-RU"/>
        </a:p>
      </dgm:t>
    </dgm:pt>
    <dgm:pt modelId="{B682F349-D0BF-470D-9BF9-69CEFC2088DC}" type="sibTrans" cxnId="{A198FD03-148B-4A43-81CA-97EE685AF141}">
      <dgm:prSet/>
      <dgm:spPr/>
      <dgm:t>
        <a:bodyPr/>
        <a:lstStyle/>
        <a:p>
          <a:endParaRPr lang="ru-RU"/>
        </a:p>
      </dgm:t>
    </dgm:pt>
    <dgm:pt modelId="{576207C2-AA82-49B7-96AF-34A71E41083A}">
      <dgm:prSet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53A5E2E3-485D-4430-8DED-D70B7AB6CD10}" type="parTrans" cxnId="{876C0B0F-E7BB-4848-ADEE-686E62CE147E}">
      <dgm:prSet/>
      <dgm:spPr/>
      <dgm:t>
        <a:bodyPr/>
        <a:lstStyle/>
        <a:p>
          <a:endParaRPr lang="ru-RU"/>
        </a:p>
      </dgm:t>
    </dgm:pt>
    <dgm:pt modelId="{25068C88-6E53-4DFE-8574-CF1BEF6EAD66}" type="sibTrans" cxnId="{876C0B0F-E7BB-4848-ADEE-686E62CE147E}">
      <dgm:prSet/>
      <dgm:spPr/>
      <dgm:t>
        <a:bodyPr/>
        <a:lstStyle/>
        <a:p>
          <a:endParaRPr lang="ru-RU"/>
        </a:p>
      </dgm:t>
    </dgm:pt>
    <dgm:pt modelId="{F38A05F3-ED4E-468E-AE8B-771CF44EBBEA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84196DB0-09F8-4860-A968-A1022079E129}" type="parTrans" cxnId="{6A6747E7-1D8F-465E-940A-AE35AB0378AB}">
      <dgm:prSet/>
      <dgm:spPr/>
      <dgm:t>
        <a:bodyPr/>
        <a:lstStyle/>
        <a:p>
          <a:endParaRPr lang="ru-RU"/>
        </a:p>
      </dgm:t>
    </dgm:pt>
    <dgm:pt modelId="{6D42C03E-64BB-4180-A102-2B03E1955A4C}" type="sibTrans" cxnId="{6A6747E7-1D8F-465E-940A-AE35AB0378AB}">
      <dgm:prSet/>
      <dgm:spPr/>
      <dgm:t>
        <a:bodyPr/>
        <a:lstStyle/>
        <a:p>
          <a:endParaRPr lang="ru-RU"/>
        </a:p>
      </dgm:t>
    </dgm:pt>
    <dgm:pt modelId="{B609D205-9018-468F-8D75-191233BCFC61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1B1FFE6C-5DB0-4E60-A8FF-E9B740CE1D1E}" type="parTrans" cxnId="{2516D844-1291-445A-8930-7C12C0AB97CD}">
      <dgm:prSet/>
      <dgm:spPr/>
      <dgm:t>
        <a:bodyPr/>
        <a:lstStyle/>
        <a:p>
          <a:endParaRPr lang="ru-RU"/>
        </a:p>
      </dgm:t>
    </dgm:pt>
    <dgm:pt modelId="{7F8F3B13-F855-4E51-AFBE-8661F03B6D1F}" type="sibTrans" cxnId="{2516D844-1291-445A-8930-7C12C0AB97CD}">
      <dgm:prSet/>
      <dgm:spPr/>
      <dgm:t>
        <a:bodyPr/>
        <a:lstStyle/>
        <a:p>
          <a:endParaRPr lang="ru-RU"/>
        </a:p>
      </dgm:t>
    </dgm:pt>
    <dgm:pt modelId="{F157DEC8-C55F-4C56-9626-9A5D52F0FD29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DFA4EF1F-81DA-424F-B906-FCB9E3553547}" type="parTrans" cxnId="{9AEB319C-DDE1-49B0-A826-7C183864E1CB}">
      <dgm:prSet/>
      <dgm:spPr/>
      <dgm:t>
        <a:bodyPr/>
        <a:lstStyle/>
        <a:p>
          <a:endParaRPr lang="ru-RU"/>
        </a:p>
      </dgm:t>
    </dgm:pt>
    <dgm:pt modelId="{5C60A681-E318-4AD4-B6F1-216D4274895B}" type="sibTrans" cxnId="{9AEB319C-DDE1-49B0-A826-7C183864E1CB}">
      <dgm:prSet/>
      <dgm:spPr/>
      <dgm:t>
        <a:bodyPr/>
        <a:lstStyle/>
        <a:p>
          <a:endParaRPr lang="ru-RU"/>
        </a:p>
      </dgm:t>
    </dgm:pt>
    <dgm:pt modelId="{336ECCC7-2241-43D8-A3DA-BB45F0F5092F}" type="pres">
      <dgm:prSet presAssocID="{4D9B881D-6E19-4B98-AC7C-BD43D9A872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8EE310A-9413-44B9-B3A8-BD566E2AFD63}" type="pres">
      <dgm:prSet presAssocID="{B777DD7E-8CF6-43CE-9D06-440885941DA5}" presName="root" presStyleCnt="0"/>
      <dgm:spPr/>
    </dgm:pt>
    <dgm:pt modelId="{2669FCAC-A3C5-4A49-BE8D-650BF1435394}" type="pres">
      <dgm:prSet presAssocID="{B777DD7E-8CF6-43CE-9D06-440885941DA5}" presName="rootComposite" presStyleCnt="0"/>
      <dgm:spPr/>
    </dgm:pt>
    <dgm:pt modelId="{D7C58C1E-8663-46D1-9F37-D3C1FAD8DB68}" type="pres">
      <dgm:prSet presAssocID="{B777DD7E-8CF6-43CE-9D06-440885941DA5}" presName="rootText" presStyleLbl="node1" presStyleIdx="0" presStyleCnt="3"/>
      <dgm:spPr/>
    </dgm:pt>
    <dgm:pt modelId="{E1082668-C788-4D46-B26C-56EC15D2970C}" type="pres">
      <dgm:prSet presAssocID="{B777DD7E-8CF6-43CE-9D06-440885941DA5}" presName="rootConnector" presStyleLbl="node1" presStyleIdx="0" presStyleCnt="3"/>
      <dgm:spPr/>
    </dgm:pt>
    <dgm:pt modelId="{445C1372-E19A-4091-B326-EB53424956E2}" type="pres">
      <dgm:prSet presAssocID="{B777DD7E-8CF6-43CE-9D06-440885941DA5}" presName="childShape" presStyleCnt="0"/>
      <dgm:spPr/>
    </dgm:pt>
    <dgm:pt modelId="{88941DF5-12EC-4E3B-8CA8-2498620AE8FC}" type="pres">
      <dgm:prSet presAssocID="{049E1DC9-E309-41EA-978E-B515538E4A3D}" presName="Name13" presStyleLbl="parChTrans1D2" presStyleIdx="0" presStyleCnt="9"/>
      <dgm:spPr/>
    </dgm:pt>
    <dgm:pt modelId="{D933DC04-2F6B-47B8-83EB-569901871D78}" type="pres">
      <dgm:prSet presAssocID="{3265B244-6869-46DB-A90E-96EE06E80F38}" presName="childText" presStyleLbl="bgAcc1" presStyleIdx="0" presStyleCnt="9">
        <dgm:presLayoutVars>
          <dgm:bulletEnabled val="1"/>
        </dgm:presLayoutVars>
      </dgm:prSet>
      <dgm:spPr/>
    </dgm:pt>
    <dgm:pt modelId="{F99F13DA-631F-4014-AD0C-56E25CD29A27}" type="pres">
      <dgm:prSet presAssocID="{377CCDC7-27F9-48F0-BAD0-D80954ED263B}" presName="Name13" presStyleLbl="parChTrans1D2" presStyleIdx="1" presStyleCnt="9"/>
      <dgm:spPr/>
    </dgm:pt>
    <dgm:pt modelId="{51780EDF-8530-40EA-86FD-DCE27F1BE81C}" type="pres">
      <dgm:prSet presAssocID="{F4D1253C-0E5B-47E1-9848-6AF9E1E15B57}" presName="childText" presStyleLbl="bgAcc1" presStyleIdx="1" presStyleCnt="9">
        <dgm:presLayoutVars>
          <dgm:bulletEnabled val="1"/>
        </dgm:presLayoutVars>
      </dgm:prSet>
      <dgm:spPr/>
    </dgm:pt>
    <dgm:pt modelId="{90C563E6-CB1C-4579-A809-7956B64DD98D}" type="pres">
      <dgm:prSet presAssocID="{84196DB0-09F8-4860-A968-A1022079E129}" presName="Name13" presStyleLbl="parChTrans1D2" presStyleIdx="2" presStyleCnt="9"/>
      <dgm:spPr/>
    </dgm:pt>
    <dgm:pt modelId="{7E21D546-E421-4B7C-800A-912CA36AD2AB}" type="pres">
      <dgm:prSet presAssocID="{F38A05F3-ED4E-468E-AE8B-771CF44EBBEA}" presName="childText" presStyleLbl="bgAcc1" presStyleIdx="2" presStyleCnt="9">
        <dgm:presLayoutVars>
          <dgm:bulletEnabled val="1"/>
        </dgm:presLayoutVars>
      </dgm:prSet>
      <dgm:spPr/>
    </dgm:pt>
    <dgm:pt modelId="{39872BEA-173D-4AFA-A464-789CCD859810}" type="pres">
      <dgm:prSet presAssocID="{33230057-3E59-4633-93A5-E2BCA80FB784}" presName="root" presStyleCnt="0"/>
      <dgm:spPr/>
    </dgm:pt>
    <dgm:pt modelId="{00E20F00-2B1D-4007-9BCD-F5DF894930C7}" type="pres">
      <dgm:prSet presAssocID="{33230057-3E59-4633-93A5-E2BCA80FB784}" presName="rootComposite" presStyleCnt="0"/>
      <dgm:spPr/>
    </dgm:pt>
    <dgm:pt modelId="{2FDDF925-1E0B-4745-B9D1-B29B5648A2AC}" type="pres">
      <dgm:prSet presAssocID="{33230057-3E59-4633-93A5-E2BCA80FB784}" presName="rootText" presStyleLbl="node1" presStyleIdx="1" presStyleCnt="3"/>
      <dgm:spPr/>
    </dgm:pt>
    <dgm:pt modelId="{58E31BD6-5731-4427-9FA0-47C74F7B29B9}" type="pres">
      <dgm:prSet presAssocID="{33230057-3E59-4633-93A5-E2BCA80FB784}" presName="rootConnector" presStyleLbl="node1" presStyleIdx="1" presStyleCnt="3"/>
      <dgm:spPr/>
    </dgm:pt>
    <dgm:pt modelId="{7BD533D8-0C83-4DC3-8ADA-B90E2C3D3360}" type="pres">
      <dgm:prSet presAssocID="{33230057-3E59-4633-93A5-E2BCA80FB784}" presName="childShape" presStyleCnt="0"/>
      <dgm:spPr/>
    </dgm:pt>
    <dgm:pt modelId="{9FCC163F-1AC2-4371-9B28-BD77D828B5D9}" type="pres">
      <dgm:prSet presAssocID="{492E972C-B865-467B-B6F7-D6E3DA7D304D}" presName="Name13" presStyleLbl="parChTrans1D2" presStyleIdx="3" presStyleCnt="9"/>
      <dgm:spPr/>
    </dgm:pt>
    <dgm:pt modelId="{300291C3-39DD-4F48-B048-456F7ADC60A5}" type="pres">
      <dgm:prSet presAssocID="{5906E0A3-A2FC-43DF-85B1-80CBD12FFD74}" presName="childText" presStyleLbl="bgAcc1" presStyleIdx="3" presStyleCnt="9">
        <dgm:presLayoutVars>
          <dgm:bulletEnabled val="1"/>
        </dgm:presLayoutVars>
      </dgm:prSet>
      <dgm:spPr/>
    </dgm:pt>
    <dgm:pt modelId="{F3991B25-61A4-4699-B0D0-7BDC2A49AF8F}" type="pres">
      <dgm:prSet presAssocID="{62AEB801-866D-40D4-8FB7-2EA5D9D27459}" presName="Name13" presStyleLbl="parChTrans1D2" presStyleIdx="4" presStyleCnt="9"/>
      <dgm:spPr/>
    </dgm:pt>
    <dgm:pt modelId="{C78BF233-9890-41B1-A2B1-6032C010EC1D}" type="pres">
      <dgm:prSet presAssocID="{389515DD-8CCF-4E90-85D7-4F50C229D38A}" presName="childText" presStyleLbl="bgAcc1" presStyleIdx="4" presStyleCnt="9">
        <dgm:presLayoutVars>
          <dgm:bulletEnabled val="1"/>
        </dgm:presLayoutVars>
      </dgm:prSet>
      <dgm:spPr/>
    </dgm:pt>
    <dgm:pt modelId="{B239569F-009D-4B9C-91C9-1267C37C1EE0}" type="pres">
      <dgm:prSet presAssocID="{1B1FFE6C-5DB0-4E60-A8FF-E9B740CE1D1E}" presName="Name13" presStyleLbl="parChTrans1D2" presStyleIdx="5" presStyleCnt="9"/>
      <dgm:spPr/>
    </dgm:pt>
    <dgm:pt modelId="{AFDF6B96-A08B-49B3-84CE-2914930DB913}" type="pres">
      <dgm:prSet presAssocID="{B609D205-9018-468F-8D75-191233BCFC61}" presName="childText" presStyleLbl="bgAcc1" presStyleIdx="5" presStyleCnt="9">
        <dgm:presLayoutVars>
          <dgm:bulletEnabled val="1"/>
        </dgm:presLayoutVars>
      </dgm:prSet>
      <dgm:spPr/>
    </dgm:pt>
    <dgm:pt modelId="{D9FF4EB3-8291-469D-BD36-65BCF5C16B59}" type="pres">
      <dgm:prSet presAssocID="{A7D5FC34-902C-4F53-86B9-E1E7C46EF7A6}" presName="root" presStyleCnt="0"/>
      <dgm:spPr/>
    </dgm:pt>
    <dgm:pt modelId="{88646E1C-1A3B-454C-8292-0E6C3724D640}" type="pres">
      <dgm:prSet presAssocID="{A7D5FC34-902C-4F53-86B9-E1E7C46EF7A6}" presName="rootComposite" presStyleCnt="0"/>
      <dgm:spPr/>
    </dgm:pt>
    <dgm:pt modelId="{0A134B67-1241-432F-AF06-D36DD9409D92}" type="pres">
      <dgm:prSet presAssocID="{A7D5FC34-902C-4F53-86B9-E1E7C46EF7A6}" presName="rootText" presStyleLbl="node1" presStyleIdx="2" presStyleCnt="3"/>
      <dgm:spPr/>
    </dgm:pt>
    <dgm:pt modelId="{5BB82D22-3948-4220-8FA0-A149608B7196}" type="pres">
      <dgm:prSet presAssocID="{A7D5FC34-902C-4F53-86B9-E1E7C46EF7A6}" presName="rootConnector" presStyleLbl="node1" presStyleIdx="2" presStyleCnt="3"/>
      <dgm:spPr/>
    </dgm:pt>
    <dgm:pt modelId="{D8DFB333-13F3-437C-A00D-17F639117FF4}" type="pres">
      <dgm:prSet presAssocID="{A7D5FC34-902C-4F53-86B9-E1E7C46EF7A6}" presName="childShape" presStyleCnt="0"/>
      <dgm:spPr/>
    </dgm:pt>
    <dgm:pt modelId="{3947553E-7746-4CD4-86C4-643FA8340D3A}" type="pres">
      <dgm:prSet presAssocID="{55490BAD-ADEC-41EE-85CD-E398BAD1FA2E}" presName="Name13" presStyleLbl="parChTrans1D2" presStyleIdx="6" presStyleCnt="9"/>
      <dgm:spPr/>
    </dgm:pt>
    <dgm:pt modelId="{BA724489-4371-42A4-ADEB-7E3DBE411198}" type="pres">
      <dgm:prSet presAssocID="{F8F47862-ABE9-41F5-8543-AE2144F048AB}" presName="childText" presStyleLbl="bgAcc1" presStyleIdx="6" presStyleCnt="9">
        <dgm:presLayoutVars>
          <dgm:bulletEnabled val="1"/>
        </dgm:presLayoutVars>
      </dgm:prSet>
      <dgm:spPr/>
    </dgm:pt>
    <dgm:pt modelId="{FAB2EEE9-1364-43F4-ADB5-61AD0F6D1897}" type="pres">
      <dgm:prSet presAssocID="{53A5E2E3-485D-4430-8DED-D70B7AB6CD10}" presName="Name13" presStyleLbl="parChTrans1D2" presStyleIdx="7" presStyleCnt="9"/>
      <dgm:spPr/>
    </dgm:pt>
    <dgm:pt modelId="{16782301-1ADA-4F39-9889-BD30124AA9AD}" type="pres">
      <dgm:prSet presAssocID="{576207C2-AA82-49B7-96AF-34A71E41083A}" presName="childText" presStyleLbl="bgAcc1" presStyleIdx="7" presStyleCnt="9">
        <dgm:presLayoutVars>
          <dgm:bulletEnabled val="1"/>
        </dgm:presLayoutVars>
      </dgm:prSet>
      <dgm:spPr/>
    </dgm:pt>
    <dgm:pt modelId="{6EF9F805-6184-4017-9164-42CBA8CA4BA1}" type="pres">
      <dgm:prSet presAssocID="{DFA4EF1F-81DA-424F-B906-FCB9E3553547}" presName="Name13" presStyleLbl="parChTrans1D2" presStyleIdx="8" presStyleCnt="9"/>
      <dgm:spPr/>
    </dgm:pt>
    <dgm:pt modelId="{8CDCC1DF-9613-4E18-991A-A61B5025DBC7}" type="pres">
      <dgm:prSet presAssocID="{F157DEC8-C55F-4C56-9626-9A5D52F0FD29}" presName="childText" presStyleLbl="bgAcc1" presStyleIdx="8" presStyleCnt="9">
        <dgm:presLayoutVars>
          <dgm:bulletEnabled val="1"/>
        </dgm:presLayoutVars>
      </dgm:prSet>
      <dgm:spPr/>
    </dgm:pt>
  </dgm:ptLst>
  <dgm:cxnLst>
    <dgm:cxn modelId="{A198FD03-148B-4A43-81CA-97EE685AF141}" srcId="{A7D5FC34-902C-4F53-86B9-E1E7C46EF7A6}" destId="{F8F47862-ABE9-41F5-8543-AE2144F048AB}" srcOrd="0" destOrd="0" parTransId="{55490BAD-ADEC-41EE-85CD-E398BAD1FA2E}" sibTransId="{B682F349-D0BF-470D-9BF9-69CEFC2088DC}"/>
    <dgm:cxn modelId="{876C0B0F-E7BB-4848-ADEE-686E62CE147E}" srcId="{A7D5FC34-902C-4F53-86B9-E1E7C46EF7A6}" destId="{576207C2-AA82-49B7-96AF-34A71E41083A}" srcOrd="1" destOrd="0" parTransId="{53A5E2E3-485D-4430-8DED-D70B7AB6CD10}" sibTransId="{25068C88-6E53-4DFE-8574-CF1BEF6EAD66}"/>
    <dgm:cxn modelId="{107B1715-AF89-4F48-8D20-2E444A009109}" type="presOf" srcId="{33230057-3E59-4633-93A5-E2BCA80FB784}" destId="{58E31BD6-5731-4427-9FA0-47C74F7B29B9}" srcOrd="1" destOrd="0" presId="urn:microsoft.com/office/officeart/2005/8/layout/hierarchy3"/>
    <dgm:cxn modelId="{89C68816-C66C-43D9-A3E2-A4415E11C5E4}" type="presOf" srcId="{3265B244-6869-46DB-A90E-96EE06E80F38}" destId="{D933DC04-2F6B-47B8-83EB-569901871D78}" srcOrd="0" destOrd="0" presId="urn:microsoft.com/office/officeart/2005/8/layout/hierarchy3"/>
    <dgm:cxn modelId="{ED6BE820-3B16-4065-A3D3-9CFEC43FE785}" type="presOf" srcId="{55490BAD-ADEC-41EE-85CD-E398BAD1FA2E}" destId="{3947553E-7746-4CD4-86C4-643FA8340D3A}" srcOrd="0" destOrd="0" presId="urn:microsoft.com/office/officeart/2005/8/layout/hierarchy3"/>
    <dgm:cxn modelId="{C3510A2D-2178-418D-A0B7-40A39075901C}" srcId="{4D9B881D-6E19-4B98-AC7C-BD43D9A872A6}" destId="{33230057-3E59-4633-93A5-E2BCA80FB784}" srcOrd="1" destOrd="0" parTransId="{ADFC647F-E465-42BA-A1E3-E24C78F5B5AA}" sibTransId="{10DC11ED-302B-413B-AA41-86B9996868B6}"/>
    <dgm:cxn modelId="{D2E5F338-245F-464C-A0AE-2EC0CA8F11CC}" type="presOf" srcId="{33230057-3E59-4633-93A5-E2BCA80FB784}" destId="{2FDDF925-1E0B-4745-B9D1-B29B5648A2AC}" srcOrd="0" destOrd="0" presId="urn:microsoft.com/office/officeart/2005/8/layout/hierarchy3"/>
    <dgm:cxn modelId="{8399D23B-62D1-4BA1-8247-3BEC0766D3F5}" type="presOf" srcId="{A7D5FC34-902C-4F53-86B9-E1E7C46EF7A6}" destId="{0A134B67-1241-432F-AF06-D36DD9409D92}" srcOrd="0" destOrd="0" presId="urn:microsoft.com/office/officeart/2005/8/layout/hierarchy3"/>
    <dgm:cxn modelId="{2516D844-1291-445A-8930-7C12C0AB97CD}" srcId="{33230057-3E59-4633-93A5-E2BCA80FB784}" destId="{B609D205-9018-468F-8D75-191233BCFC61}" srcOrd="2" destOrd="0" parTransId="{1B1FFE6C-5DB0-4E60-A8FF-E9B740CE1D1E}" sibTransId="{7F8F3B13-F855-4E51-AFBE-8661F03B6D1F}"/>
    <dgm:cxn modelId="{0521B650-599B-4CB3-BB39-492A4ED647B0}" type="presOf" srcId="{84196DB0-09F8-4860-A968-A1022079E129}" destId="{90C563E6-CB1C-4579-A809-7956B64DD98D}" srcOrd="0" destOrd="0" presId="urn:microsoft.com/office/officeart/2005/8/layout/hierarchy3"/>
    <dgm:cxn modelId="{6EEE4B56-88EE-458C-830A-70BB1B867584}" srcId="{4D9B881D-6E19-4B98-AC7C-BD43D9A872A6}" destId="{B777DD7E-8CF6-43CE-9D06-440885941DA5}" srcOrd="0" destOrd="0" parTransId="{D751186D-7A15-443E-9145-E123FA92C06D}" sibTransId="{7E5023B8-D421-43E3-B0B4-45EC462EE702}"/>
    <dgm:cxn modelId="{1F4DDC57-F249-4E8E-9D5C-C183187D801D}" type="presOf" srcId="{5906E0A3-A2FC-43DF-85B1-80CBD12FFD74}" destId="{300291C3-39DD-4F48-B048-456F7ADC60A5}" srcOrd="0" destOrd="0" presId="urn:microsoft.com/office/officeart/2005/8/layout/hierarchy3"/>
    <dgm:cxn modelId="{87A8275F-E648-4644-8BAC-06F467E2F017}" type="presOf" srcId="{F4D1253C-0E5B-47E1-9848-6AF9E1E15B57}" destId="{51780EDF-8530-40EA-86FD-DCE27F1BE81C}" srcOrd="0" destOrd="0" presId="urn:microsoft.com/office/officeart/2005/8/layout/hierarchy3"/>
    <dgm:cxn modelId="{B43F2975-9FD8-483A-8856-5BB235CE8596}" type="presOf" srcId="{389515DD-8CCF-4E90-85D7-4F50C229D38A}" destId="{C78BF233-9890-41B1-A2B1-6032C010EC1D}" srcOrd="0" destOrd="0" presId="urn:microsoft.com/office/officeart/2005/8/layout/hierarchy3"/>
    <dgm:cxn modelId="{B2797585-B3F5-41D4-BD09-10A4EA996EC1}" srcId="{33230057-3E59-4633-93A5-E2BCA80FB784}" destId="{389515DD-8CCF-4E90-85D7-4F50C229D38A}" srcOrd="1" destOrd="0" parTransId="{62AEB801-866D-40D4-8FB7-2EA5D9D27459}" sibTransId="{1E0C8090-C56B-47E3-852B-1FF77E46B342}"/>
    <dgm:cxn modelId="{CA2BDC87-C109-48D3-8454-5BE1B9759D38}" srcId="{33230057-3E59-4633-93A5-E2BCA80FB784}" destId="{5906E0A3-A2FC-43DF-85B1-80CBD12FFD74}" srcOrd="0" destOrd="0" parTransId="{492E972C-B865-467B-B6F7-D6E3DA7D304D}" sibTransId="{4DB123DE-2E4B-4920-A41C-39E923653120}"/>
    <dgm:cxn modelId="{043A9C8D-B4A0-4187-853A-51F61C7FB168}" type="presOf" srcId="{4D9B881D-6E19-4B98-AC7C-BD43D9A872A6}" destId="{336ECCC7-2241-43D8-A3DA-BB45F0F5092F}" srcOrd="0" destOrd="0" presId="urn:microsoft.com/office/officeart/2005/8/layout/hierarchy3"/>
    <dgm:cxn modelId="{E5FDF88F-19E6-40A6-B50F-34F9C9AEB09C}" type="presOf" srcId="{1B1FFE6C-5DB0-4E60-A8FF-E9B740CE1D1E}" destId="{B239569F-009D-4B9C-91C9-1267C37C1EE0}" srcOrd="0" destOrd="0" presId="urn:microsoft.com/office/officeart/2005/8/layout/hierarchy3"/>
    <dgm:cxn modelId="{9AEB319C-DDE1-49B0-A826-7C183864E1CB}" srcId="{A7D5FC34-902C-4F53-86B9-E1E7C46EF7A6}" destId="{F157DEC8-C55F-4C56-9626-9A5D52F0FD29}" srcOrd="2" destOrd="0" parTransId="{DFA4EF1F-81DA-424F-B906-FCB9E3553547}" sibTransId="{5C60A681-E318-4AD4-B6F1-216D4274895B}"/>
    <dgm:cxn modelId="{A9954F9E-5039-4B83-BB4B-47A4A867C179}" type="presOf" srcId="{B777DD7E-8CF6-43CE-9D06-440885941DA5}" destId="{D7C58C1E-8663-46D1-9F37-D3C1FAD8DB68}" srcOrd="0" destOrd="0" presId="urn:microsoft.com/office/officeart/2005/8/layout/hierarchy3"/>
    <dgm:cxn modelId="{CAD2BAAC-82E1-444D-8718-0C78F6F42C4F}" type="presOf" srcId="{576207C2-AA82-49B7-96AF-34A71E41083A}" destId="{16782301-1ADA-4F39-9889-BD30124AA9AD}" srcOrd="0" destOrd="0" presId="urn:microsoft.com/office/officeart/2005/8/layout/hierarchy3"/>
    <dgm:cxn modelId="{48010DB8-8131-4B99-872E-20688768AC7E}" type="presOf" srcId="{F8F47862-ABE9-41F5-8543-AE2144F048AB}" destId="{BA724489-4371-42A4-ADEB-7E3DBE411198}" srcOrd="0" destOrd="0" presId="urn:microsoft.com/office/officeart/2005/8/layout/hierarchy3"/>
    <dgm:cxn modelId="{BDCBC9BC-D8BB-49B1-A01E-BD6A137F0614}" type="presOf" srcId="{53A5E2E3-485D-4430-8DED-D70B7AB6CD10}" destId="{FAB2EEE9-1364-43F4-ADB5-61AD0F6D1897}" srcOrd="0" destOrd="0" presId="urn:microsoft.com/office/officeart/2005/8/layout/hierarchy3"/>
    <dgm:cxn modelId="{6B313FBE-A2A1-4189-BA85-427E0FC2A4C1}" type="presOf" srcId="{B609D205-9018-468F-8D75-191233BCFC61}" destId="{AFDF6B96-A08B-49B3-84CE-2914930DB913}" srcOrd="0" destOrd="0" presId="urn:microsoft.com/office/officeart/2005/8/layout/hierarchy3"/>
    <dgm:cxn modelId="{5A11E4C5-A1F3-4C62-A826-30EA0EA25BB4}" srcId="{4D9B881D-6E19-4B98-AC7C-BD43D9A872A6}" destId="{A7D5FC34-902C-4F53-86B9-E1E7C46EF7A6}" srcOrd="2" destOrd="0" parTransId="{9792E455-5A22-477E-9961-2F5BB008045B}" sibTransId="{CA064AE1-1009-4A25-B8F6-A7CA99ABE8AA}"/>
    <dgm:cxn modelId="{6AB328C9-E07D-4137-82B2-80C0A00B4B0E}" type="presOf" srcId="{F38A05F3-ED4E-468E-AE8B-771CF44EBBEA}" destId="{7E21D546-E421-4B7C-800A-912CA36AD2AB}" srcOrd="0" destOrd="0" presId="urn:microsoft.com/office/officeart/2005/8/layout/hierarchy3"/>
    <dgm:cxn modelId="{CAE7F0DA-4DB5-419D-9B42-519C8A7C68C0}" type="presOf" srcId="{377CCDC7-27F9-48F0-BAD0-D80954ED263B}" destId="{F99F13DA-631F-4014-AD0C-56E25CD29A27}" srcOrd="0" destOrd="0" presId="urn:microsoft.com/office/officeart/2005/8/layout/hierarchy3"/>
    <dgm:cxn modelId="{2A3F7CDC-7C23-4839-A3FE-5A3B2DCBF89D}" type="presOf" srcId="{492E972C-B865-467B-B6F7-D6E3DA7D304D}" destId="{9FCC163F-1AC2-4371-9B28-BD77D828B5D9}" srcOrd="0" destOrd="0" presId="urn:microsoft.com/office/officeart/2005/8/layout/hierarchy3"/>
    <dgm:cxn modelId="{DAFD36DE-EA04-49E9-BE56-DA3ED5071B7F}" srcId="{B777DD7E-8CF6-43CE-9D06-440885941DA5}" destId="{F4D1253C-0E5B-47E1-9848-6AF9E1E15B57}" srcOrd="1" destOrd="0" parTransId="{377CCDC7-27F9-48F0-BAD0-D80954ED263B}" sibTransId="{CD51F0A3-3E57-42FB-AC0D-3F33449C7188}"/>
    <dgm:cxn modelId="{6A6747E7-1D8F-465E-940A-AE35AB0378AB}" srcId="{B777DD7E-8CF6-43CE-9D06-440885941DA5}" destId="{F38A05F3-ED4E-468E-AE8B-771CF44EBBEA}" srcOrd="2" destOrd="0" parTransId="{84196DB0-09F8-4860-A968-A1022079E129}" sibTransId="{6D42C03E-64BB-4180-A102-2B03E1955A4C}"/>
    <dgm:cxn modelId="{36D00EE8-C985-4BAF-9BC9-236AFD20706F}" type="presOf" srcId="{049E1DC9-E309-41EA-978E-B515538E4A3D}" destId="{88941DF5-12EC-4E3B-8CA8-2498620AE8FC}" srcOrd="0" destOrd="0" presId="urn:microsoft.com/office/officeart/2005/8/layout/hierarchy3"/>
    <dgm:cxn modelId="{D71CC3E8-0228-42F0-AA6F-D91C0B859A7B}" srcId="{B777DD7E-8CF6-43CE-9D06-440885941DA5}" destId="{3265B244-6869-46DB-A90E-96EE06E80F38}" srcOrd="0" destOrd="0" parTransId="{049E1DC9-E309-41EA-978E-B515538E4A3D}" sibTransId="{CE43FDE3-3B7A-40BC-A400-0822BE5CEDF1}"/>
    <dgm:cxn modelId="{670F76ED-92AE-4E5D-82FC-F6B7EF4D9D6D}" type="presOf" srcId="{B777DD7E-8CF6-43CE-9D06-440885941DA5}" destId="{E1082668-C788-4D46-B26C-56EC15D2970C}" srcOrd="1" destOrd="0" presId="urn:microsoft.com/office/officeart/2005/8/layout/hierarchy3"/>
    <dgm:cxn modelId="{F278CEF0-2C5C-4959-8436-F889ADBB1371}" type="presOf" srcId="{62AEB801-866D-40D4-8FB7-2EA5D9D27459}" destId="{F3991B25-61A4-4699-B0D0-7BDC2A49AF8F}" srcOrd="0" destOrd="0" presId="urn:microsoft.com/office/officeart/2005/8/layout/hierarchy3"/>
    <dgm:cxn modelId="{ED1720F5-1FF6-41D2-B431-E7ECBD993AF0}" type="presOf" srcId="{DFA4EF1F-81DA-424F-B906-FCB9E3553547}" destId="{6EF9F805-6184-4017-9164-42CBA8CA4BA1}" srcOrd="0" destOrd="0" presId="urn:microsoft.com/office/officeart/2005/8/layout/hierarchy3"/>
    <dgm:cxn modelId="{6FD4FBF7-4CCE-4424-9103-4776C66FD7E1}" type="presOf" srcId="{F157DEC8-C55F-4C56-9626-9A5D52F0FD29}" destId="{8CDCC1DF-9613-4E18-991A-A61B5025DBC7}" srcOrd="0" destOrd="0" presId="urn:microsoft.com/office/officeart/2005/8/layout/hierarchy3"/>
    <dgm:cxn modelId="{A52F1FF9-58C8-4342-906A-14AA26B6BE94}" type="presOf" srcId="{A7D5FC34-902C-4F53-86B9-E1E7C46EF7A6}" destId="{5BB82D22-3948-4220-8FA0-A149608B7196}" srcOrd="1" destOrd="0" presId="urn:microsoft.com/office/officeart/2005/8/layout/hierarchy3"/>
    <dgm:cxn modelId="{A5ECE0B2-40AC-4873-943C-6BD6B32712D0}" type="presParOf" srcId="{336ECCC7-2241-43D8-A3DA-BB45F0F5092F}" destId="{58EE310A-9413-44B9-B3A8-BD566E2AFD63}" srcOrd="0" destOrd="0" presId="urn:microsoft.com/office/officeart/2005/8/layout/hierarchy3"/>
    <dgm:cxn modelId="{DDF0086E-8A6F-48EC-914F-7AA8E8D8D5D7}" type="presParOf" srcId="{58EE310A-9413-44B9-B3A8-BD566E2AFD63}" destId="{2669FCAC-A3C5-4A49-BE8D-650BF1435394}" srcOrd="0" destOrd="0" presId="urn:microsoft.com/office/officeart/2005/8/layout/hierarchy3"/>
    <dgm:cxn modelId="{59BA4317-4D98-48BB-A80B-58784DE644A7}" type="presParOf" srcId="{2669FCAC-A3C5-4A49-BE8D-650BF1435394}" destId="{D7C58C1E-8663-46D1-9F37-D3C1FAD8DB68}" srcOrd="0" destOrd="0" presId="urn:microsoft.com/office/officeart/2005/8/layout/hierarchy3"/>
    <dgm:cxn modelId="{934860FD-8256-4112-8449-B9D68937874E}" type="presParOf" srcId="{2669FCAC-A3C5-4A49-BE8D-650BF1435394}" destId="{E1082668-C788-4D46-B26C-56EC15D2970C}" srcOrd="1" destOrd="0" presId="urn:microsoft.com/office/officeart/2005/8/layout/hierarchy3"/>
    <dgm:cxn modelId="{79794EA3-35C0-4CEA-9CD3-38CBF80BFFFC}" type="presParOf" srcId="{58EE310A-9413-44B9-B3A8-BD566E2AFD63}" destId="{445C1372-E19A-4091-B326-EB53424956E2}" srcOrd="1" destOrd="0" presId="urn:microsoft.com/office/officeart/2005/8/layout/hierarchy3"/>
    <dgm:cxn modelId="{6E074E95-8E4E-4473-B6DA-7A89A543A71A}" type="presParOf" srcId="{445C1372-E19A-4091-B326-EB53424956E2}" destId="{88941DF5-12EC-4E3B-8CA8-2498620AE8FC}" srcOrd="0" destOrd="0" presId="urn:microsoft.com/office/officeart/2005/8/layout/hierarchy3"/>
    <dgm:cxn modelId="{F3CEFE80-5460-4CA1-BF8A-9C83BA857EEB}" type="presParOf" srcId="{445C1372-E19A-4091-B326-EB53424956E2}" destId="{D933DC04-2F6B-47B8-83EB-569901871D78}" srcOrd="1" destOrd="0" presId="urn:microsoft.com/office/officeart/2005/8/layout/hierarchy3"/>
    <dgm:cxn modelId="{A715606D-2A99-47C3-AA23-1B0D799BC3F9}" type="presParOf" srcId="{445C1372-E19A-4091-B326-EB53424956E2}" destId="{F99F13DA-631F-4014-AD0C-56E25CD29A27}" srcOrd="2" destOrd="0" presId="urn:microsoft.com/office/officeart/2005/8/layout/hierarchy3"/>
    <dgm:cxn modelId="{52E90A69-C4E6-4FA6-8796-23E73D7DEF31}" type="presParOf" srcId="{445C1372-E19A-4091-B326-EB53424956E2}" destId="{51780EDF-8530-40EA-86FD-DCE27F1BE81C}" srcOrd="3" destOrd="0" presId="urn:microsoft.com/office/officeart/2005/8/layout/hierarchy3"/>
    <dgm:cxn modelId="{ABC0F1AD-2F77-4387-B2F6-D15F13B14215}" type="presParOf" srcId="{445C1372-E19A-4091-B326-EB53424956E2}" destId="{90C563E6-CB1C-4579-A809-7956B64DD98D}" srcOrd="4" destOrd="0" presId="urn:microsoft.com/office/officeart/2005/8/layout/hierarchy3"/>
    <dgm:cxn modelId="{A3384B97-B672-441E-BC29-3D7C6055D0C6}" type="presParOf" srcId="{445C1372-E19A-4091-B326-EB53424956E2}" destId="{7E21D546-E421-4B7C-800A-912CA36AD2AB}" srcOrd="5" destOrd="0" presId="urn:microsoft.com/office/officeart/2005/8/layout/hierarchy3"/>
    <dgm:cxn modelId="{7CD93098-CE80-4695-A85E-825B4B630F32}" type="presParOf" srcId="{336ECCC7-2241-43D8-A3DA-BB45F0F5092F}" destId="{39872BEA-173D-4AFA-A464-789CCD859810}" srcOrd="1" destOrd="0" presId="urn:microsoft.com/office/officeart/2005/8/layout/hierarchy3"/>
    <dgm:cxn modelId="{AF4E62F6-A95D-4C5A-B42B-35D78474BDF8}" type="presParOf" srcId="{39872BEA-173D-4AFA-A464-789CCD859810}" destId="{00E20F00-2B1D-4007-9BCD-F5DF894930C7}" srcOrd="0" destOrd="0" presId="urn:microsoft.com/office/officeart/2005/8/layout/hierarchy3"/>
    <dgm:cxn modelId="{76DF7A4B-A04D-40AC-ACD4-E0CAC09B5CAE}" type="presParOf" srcId="{00E20F00-2B1D-4007-9BCD-F5DF894930C7}" destId="{2FDDF925-1E0B-4745-B9D1-B29B5648A2AC}" srcOrd="0" destOrd="0" presId="urn:microsoft.com/office/officeart/2005/8/layout/hierarchy3"/>
    <dgm:cxn modelId="{0A1D117F-A806-4330-AF34-CF6D331EB006}" type="presParOf" srcId="{00E20F00-2B1D-4007-9BCD-F5DF894930C7}" destId="{58E31BD6-5731-4427-9FA0-47C74F7B29B9}" srcOrd="1" destOrd="0" presId="urn:microsoft.com/office/officeart/2005/8/layout/hierarchy3"/>
    <dgm:cxn modelId="{EF47F632-5DD9-4532-92B5-F9D25E55EAAE}" type="presParOf" srcId="{39872BEA-173D-4AFA-A464-789CCD859810}" destId="{7BD533D8-0C83-4DC3-8ADA-B90E2C3D3360}" srcOrd="1" destOrd="0" presId="urn:microsoft.com/office/officeart/2005/8/layout/hierarchy3"/>
    <dgm:cxn modelId="{61026770-FF3F-41BE-AC2A-1070F54677FB}" type="presParOf" srcId="{7BD533D8-0C83-4DC3-8ADA-B90E2C3D3360}" destId="{9FCC163F-1AC2-4371-9B28-BD77D828B5D9}" srcOrd="0" destOrd="0" presId="urn:microsoft.com/office/officeart/2005/8/layout/hierarchy3"/>
    <dgm:cxn modelId="{8B6ED598-1ADD-45AA-8742-46851446E809}" type="presParOf" srcId="{7BD533D8-0C83-4DC3-8ADA-B90E2C3D3360}" destId="{300291C3-39DD-4F48-B048-456F7ADC60A5}" srcOrd="1" destOrd="0" presId="urn:microsoft.com/office/officeart/2005/8/layout/hierarchy3"/>
    <dgm:cxn modelId="{BDBB782B-DE6D-475B-ABDF-9A1ADCB265E1}" type="presParOf" srcId="{7BD533D8-0C83-4DC3-8ADA-B90E2C3D3360}" destId="{F3991B25-61A4-4699-B0D0-7BDC2A49AF8F}" srcOrd="2" destOrd="0" presId="urn:microsoft.com/office/officeart/2005/8/layout/hierarchy3"/>
    <dgm:cxn modelId="{CFE3E88F-3DBA-4598-BB12-5BCCAED9264C}" type="presParOf" srcId="{7BD533D8-0C83-4DC3-8ADA-B90E2C3D3360}" destId="{C78BF233-9890-41B1-A2B1-6032C010EC1D}" srcOrd="3" destOrd="0" presId="urn:microsoft.com/office/officeart/2005/8/layout/hierarchy3"/>
    <dgm:cxn modelId="{7B7EBBE2-DE27-4ED2-89CE-094AC6090C70}" type="presParOf" srcId="{7BD533D8-0C83-4DC3-8ADA-B90E2C3D3360}" destId="{B239569F-009D-4B9C-91C9-1267C37C1EE0}" srcOrd="4" destOrd="0" presId="urn:microsoft.com/office/officeart/2005/8/layout/hierarchy3"/>
    <dgm:cxn modelId="{5C0C1F1F-16A2-40E4-AAC8-33A42143521D}" type="presParOf" srcId="{7BD533D8-0C83-4DC3-8ADA-B90E2C3D3360}" destId="{AFDF6B96-A08B-49B3-84CE-2914930DB913}" srcOrd="5" destOrd="0" presId="urn:microsoft.com/office/officeart/2005/8/layout/hierarchy3"/>
    <dgm:cxn modelId="{9EE9DE8B-7BA5-4CBC-B892-53B9D06DE1E3}" type="presParOf" srcId="{336ECCC7-2241-43D8-A3DA-BB45F0F5092F}" destId="{D9FF4EB3-8291-469D-BD36-65BCF5C16B59}" srcOrd="2" destOrd="0" presId="urn:microsoft.com/office/officeart/2005/8/layout/hierarchy3"/>
    <dgm:cxn modelId="{48261FD4-4148-4F18-9658-3BCE80BB936C}" type="presParOf" srcId="{D9FF4EB3-8291-469D-BD36-65BCF5C16B59}" destId="{88646E1C-1A3B-454C-8292-0E6C3724D640}" srcOrd="0" destOrd="0" presId="urn:microsoft.com/office/officeart/2005/8/layout/hierarchy3"/>
    <dgm:cxn modelId="{E35893C3-15E1-4020-A610-8587F45A9103}" type="presParOf" srcId="{88646E1C-1A3B-454C-8292-0E6C3724D640}" destId="{0A134B67-1241-432F-AF06-D36DD9409D92}" srcOrd="0" destOrd="0" presId="urn:microsoft.com/office/officeart/2005/8/layout/hierarchy3"/>
    <dgm:cxn modelId="{B84127D4-2FA9-4C1D-AEBE-2C3C340CD1ED}" type="presParOf" srcId="{88646E1C-1A3B-454C-8292-0E6C3724D640}" destId="{5BB82D22-3948-4220-8FA0-A149608B7196}" srcOrd="1" destOrd="0" presId="urn:microsoft.com/office/officeart/2005/8/layout/hierarchy3"/>
    <dgm:cxn modelId="{1AA05347-0E7F-4289-86FF-73E4FFCC2B7A}" type="presParOf" srcId="{D9FF4EB3-8291-469D-BD36-65BCF5C16B59}" destId="{D8DFB333-13F3-437C-A00D-17F639117FF4}" srcOrd="1" destOrd="0" presId="urn:microsoft.com/office/officeart/2005/8/layout/hierarchy3"/>
    <dgm:cxn modelId="{754C6877-31C2-470F-9DB5-C1767DA29BD0}" type="presParOf" srcId="{D8DFB333-13F3-437C-A00D-17F639117FF4}" destId="{3947553E-7746-4CD4-86C4-643FA8340D3A}" srcOrd="0" destOrd="0" presId="urn:microsoft.com/office/officeart/2005/8/layout/hierarchy3"/>
    <dgm:cxn modelId="{93FBEB8B-4E4D-4BD9-B2FA-000D97350B07}" type="presParOf" srcId="{D8DFB333-13F3-437C-A00D-17F639117FF4}" destId="{BA724489-4371-42A4-ADEB-7E3DBE411198}" srcOrd="1" destOrd="0" presId="urn:microsoft.com/office/officeart/2005/8/layout/hierarchy3"/>
    <dgm:cxn modelId="{384CE0B4-A843-44D7-A1C9-D9CFAFB0107C}" type="presParOf" srcId="{D8DFB333-13F3-437C-A00D-17F639117FF4}" destId="{FAB2EEE9-1364-43F4-ADB5-61AD0F6D1897}" srcOrd="2" destOrd="0" presId="urn:microsoft.com/office/officeart/2005/8/layout/hierarchy3"/>
    <dgm:cxn modelId="{3A0E5A89-1CF3-45E9-AF9C-AEE7CF1CC878}" type="presParOf" srcId="{D8DFB333-13F3-437C-A00D-17F639117FF4}" destId="{16782301-1ADA-4F39-9889-BD30124AA9AD}" srcOrd="3" destOrd="0" presId="urn:microsoft.com/office/officeart/2005/8/layout/hierarchy3"/>
    <dgm:cxn modelId="{878BDDC8-E28A-44E3-A573-15F07821C74C}" type="presParOf" srcId="{D8DFB333-13F3-437C-A00D-17F639117FF4}" destId="{6EF9F805-6184-4017-9164-42CBA8CA4BA1}" srcOrd="4" destOrd="0" presId="urn:microsoft.com/office/officeart/2005/8/layout/hierarchy3"/>
    <dgm:cxn modelId="{D07D9F6B-C6B3-4D45-854F-44037EABCB05}" type="presParOf" srcId="{D8DFB333-13F3-437C-A00D-17F639117FF4}" destId="{8CDCC1DF-9613-4E18-991A-A61B5025DBC7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просвеще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потребнадзор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здравнадзор</a:t>
          </a:r>
          <a:r>
            <a:rPr lang="ru-RU" b="1" dirty="0">
              <a:solidFill>
                <a:schemeClr val="bg1"/>
              </a:solidFill>
            </a:rPr>
            <a:t> 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ЧС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ВД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анки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Госдум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  <a:r>
            <a:rPr lang="ru-RU" b="1" baseline="0" dirty="0">
              <a:solidFill>
                <a:schemeClr val="tx1"/>
              </a:solidFill>
            </a:rPr>
            <a:t> </a:t>
          </a:r>
          <a:endParaRPr lang="ru-RU" b="1" dirty="0">
            <a:solidFill>
              <a:schemeClr val="tx1"/>
            </a:solidFill>
          </a:endParaRP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>
        <dgm:presLayoutVars>
          <dgm:bulletEnabled val="1"/>
        </dgm:presLayoutVars>
      </dgm:prSet>
      <dgm:spPr/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 custLinFactNeighborX="0" custLinFactNeighborY="1690">
        <dgm:presLayoutVars>
          <dgm:bulletEnabled val="1"/>
        </dgm:presLayoutVars>
      </dgm:prSet>
      <dgm:spPr/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</dgm:pt>
  </dgm:ptLst>
  <dgm:cxnLst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01A219C-35DE-4EAE-9E50-AD9C2C1109BA}" type="doc">
      <dgm:prSet loTypeId="urn:microsoft.com/office/officeart/2005/8/layout/l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DD8C02D8-9083-49D9-986B-2E4252DB0406}">
      <dgm:prSet phldrT="[Текст]"/>
      <dgm:spPr/>
      <dgm:t>
        <a:bodyPr/>
        <a:lstStyle/>
        <a:p>
          <a:r>
            <a:rPr lang="ru-RU" dirty="0"/>
            <a:t>Учитель, воспитатель </a:t>
          </a:r>
        </a:p>
      </dgm:t>
    </dgm:pt>
    <dgm:pt modelId="{E1F2D52F-160E-4414-9D71-27F3C1A3CE2F}" type="parTrans" cxnId="{D0480770-AF29-449C-8B46-7279ECB2F1FE}">
      <dgm:prSet/>
      <dgm:spPr/>
      <dgm:t>
        <a:bodyPr/>
        <a:lstStyle/>
        <a:p>
          <a:endParaRPr lang="ru-RU"/>
        </a:p>
      </dgm:t>
    </dgm:pt>
    <dgm:pt modelId="{693F4544-7191-470D-A94D-5DA1C0A3C95C}" type="sibTrans" cxnId="{D0480770-AF29-449C-8B46-7279ECB2F1FE}">
      <dgm:prSet/>
      <dgm:spPr/>
      <dgm:t>
        <a:bodyPr/>
        <a:lstStyle/>
        <a:p>
          <a:endParaRPr lang="ru-RU"/>
        </a:p>
      </dgm:t>
    </dgm:pt>
    <dgm:pt modelId="{D33EFC2C-123E-483C-853C-76DAB1CC3827}">
      <dgm:prSet phldrT="[Текст]"/>
      <dgm:spPr/>
      <dgm:t>
        <a:bodyPr/>
        <a:lstStyle/>
        <a:p>
          <a:r>
            <a:rPr lang="ru-RU" dirty="0"/>
            <a:t>Более 50 документов </a:t>
          </a:r>
        </a:p>
      </dgm:t>
    </dgm:pt>
    <dgm:pt modelId="{73E3E5EA-C99C-4BC0-99B1-E97D69DD3737}" type="parTrans" cxnId="{3B36966A-DBB5-4879-9613-E058ABABF308}">
      <dgm:prSet/>
      <dgm:spPr/>
      <dgm:t>
        <a:bodyPr/>
        <a:lstStyle/>
        <a:p>
          <a:endParaRPr lang="ru-RU"/>
        </a:p>
      </dgm:t>
    </dgm:pt>
    <dgm:pt modelId="{5BD3BD75-14C8-4DC0-AF66-4C935EECD30A}" type="sibTrans" cxnId="{3B36966A-DBB5-4879-9613-E058ABABF308}">
      <dgm:prSet/>
      <dgm:spPr/>
      <dgm:t>
        <a:bodyPr/>
        <a:lstStyle/>
        <a:p>
          <a:endParaRPr lang="ru-RU"/>
        </a:p>
      </dgm:t>
    </dgm:pt>
    <dgm:pt modelId="{8DCC1845-AE95-49FD-93C5-B17AFE975995}">
      <dgm:prSet phldrT="[Текст]"/>
      <dgm:spPr/>
      <dgm:t>
        <a:bodyPr/>
        <a:lstStyle/>
        <a:p>
          <a:r>
            <a:rPr lang="ru-RU" dirty="0"/>
            <a:t>Образовательные</a:t>
          </a:r>
          <a:r>
            <a:rPr lang="ru-RU" baseline="0" dirty="0"/>
            <a:t> организации </a:t>
          </a:r>
          <a:endParaRPr lang="ru-RU" dirty="0"/>
        </a:p>
      </dgm:t>
    </dgm:pt>
    <dgm:pt modelId="{AD65150F-8DD7-4C09-A447-EC0945ECFADC}" type="parTrans" cxnId="{86D5E22C-5BCA-4131-9D91-2469C1095A6F}">
      <dgm:prSet/>
      <dgm:spPr/>
      <dgm:t>
        <a:bodyPr/>
        <a:lstStyle/>
        <a:p>
          <a:endParaRPr lang="ru-RU"/>
        </a:p>
      </dgm:t>
    </dgm:pt>
    <dgm:pt modelId="{DCE3A045-8B61-4D25-A5C4-4309A2575FC2}" type="sibTrans" cxnId="{86D5E22C-5BCA-4131-9D91-2469C1095A6F}">
      <dgm:prSet/>
      <dgm:spPr/>
      <dgm:t>
        <a:bodyPr/>
        <a:lstStyle/>
        <a:p>
          <a:endParaRPr lang="ru-RU"/>
        </a:p>
      </dgm:t>
    </dgm:pt>
    <dgm:pt modelId="{16786549-E32A-4D9D-980A-EA94B4ECE882}">
      <dgm:prSet phldrT="[Текст]"/>
      <dgm:spPr/>
      <dgm:t>
        <a:bodyPr/>
        <a:lstStyle/>
        <a:p>
          <a:r>
            <a:rPr lang="ru-RU" dirty="0"/>
            <a:t>Более 250 писем в месяц </a:t>
          </a:r>
        </a:p>
      </dgm:t>
    </dgm:pt>
    <dgm:pt modelId="{3815E13A-31A9-4DA7-AB64-65FFB2A71866}" type="parTrans" cxnId="{2CB54CDF-8A39-4868-9271-FE54898EF33B}">
      <dgm:prSet/>
      <dgm:spPr/>
      <dgm:t>
        <a:bodyPr/>
        <a:lstStyle/>
        <a:p>
          <a:endParaRPr lang="ru-RU"/>
        </a:p>
      </dgm:t>
    </dgm:pt>
    <dgm:pt modelId="{7BAA3352-C01C-4C2D-85D6-85BBEAAAFFF8}" type="sibTrans" cxnId="{2CB54CDF-8A39-4868-9271-FE54898EF33B}">
      <dgm:prSet/>
      <dgm:spPr/>
      <dgm:t>
        <a:bodyPr/>
        <a:lstStyle/>
        <a:p>
          <a:endParaRPr lang="ru-RU"/>
        </a:p>
      </dgm:t>
    </dgm:pt>
    <dgm:pt modelId="{46FDA667-9A2B-47B9-B8AE-0E36815CEC45}">
      <dgm:prSet phldrT="[Текст]"/>
      <dgm:spPr/>
      <dgm:t>
        <a:bodyPr/>
        <a:lstStyle/>
        <a:p>
          <a:r>
            <a:rPr lang="ru-RU" dirty="0"/>
            <a:t>РОИВ</a:t>
          </a:r>
        </a:p>
      </dgm:t>
    </dgm:pt>
    <dgm:pt modelId="{FB3027B8-487F-4265-993B-89C5542315EF}" type="parTrans" cxnId="{FD572B55-403A-4F57-AD86-C7B5FF78D321}">
      <dgm:prSet/>
      <dgm:spPr/>
      <dgm:t>
        <a:bodyPr/>
        <a:lstStyle/>
        <a:p>
          <a:endParaRPr lang="ru-RU"/>
        </a:p>
      </dgm:t>
    </dgm:pt>
    <dgm:pt modelId="{BA0227A2-E9DB-4D86-A21C-11F4DD03B268}" type="sibTrans" cxnId="{FD572B55-403A-4F57-AD86-C7B5FF78D321}">
      <dgm:prSet/>
      <dgm:spPr/>
      <dgm:t>
        <a:bodyPr/>
        <a:lstStyle/>
        <a:p>
          <a:endParaRPr lang="ru-RU"/>
        </a:p>
      </dgm:t>
    </dgm:pt>
    <dgm:pt modelId="{9B37D91F-F777-4F5E-823C-D9312546FBA7}">
      <dgm:prSet phldrT="[Текст]"/>
      <dgm:spPr/>
      <dgm:t>
        <a:bodyPr/>
        <a:lstStyle/>
        <a:p>
          <a:r>
            <a:rPr lang="ru-RU" dirty="0"/>
            <a:t>750 – 3500 писем в месяц </a:t>
          </a:r>
        </a:p>
      </dgm:t>
    </dgm:pt>
    <dgm:pt modelId="{3FD17795-D2C5-475D-86D7-B9DC1A19B0AD}" type="parTrans" cxnId="{DC16CB4A-E562-4B53-8134-6978DAC0F478}">
      <dgm:prSet/>
      <dgm:spPr/>
      <dgm:t>
        <a:bodyPr/>
        <a:lstStyle/>
        <a:p>
          <a:endParaRPr lang="ru-RU"/>
        </a:p>
      </dgm:t>
    </dgm:pt>
    <dgm:pt modelId="{3449659F-0B0E-4A4E-A100-D84B31BFDA14}" type="sibTrans" cxnId="{DC16CB4A-E562-4B53-8134-6978DAC0F478}">
      <dgm:prSet/>
      <dgm:spPr/>
      <dgm:t>
        <a:bodyPr/>
        <a:lstStyle/>
        <a:p>
          <a:endParaRPr lang="ru-RU"/>
        </a:p>
      </dgm:t>
    </dgm:pt>
    <dgm:pt modelId="{12303817-16F5-4292-AA86-51A5CC2EBECE}" type="pres">
      <dgm:prSet presAssocID="{B01A219C-35DE-4EAE-9E50-AD9C2C1109BA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A1A8A008-931A-4069-A3FB-EE1B272E7978}" type="pres">
      <dgm:prSet presAssocID="{DD8C02D8-9083-49D9-986B-2E4252DB0406}" presName="horFlow" presStyleCnt="0"/>
      <dgm:spPr/>
    </dgm:pt>
    <dgm:pt modelId="{8F2EE444-6910-4ABB-8299-E5B26AEAB7E2}" type="pres">
      <dgm:prSet presAssocID="{DD8C02D8-9083-49D9-986B-2E4252DB0406}" presName="bigChev" presStyleLbl="node1" presStyleIdx="0" presStyleCnt="3"/>
      <dgm:spPr/>
    </dgm:pt>
    <dgm:pt modelId="{02A798B3-3FCC-41F9-9685-8341FC0A128C}" type="pres">
      <dgm:prSet presAssocID="{73E3E5EA-C99C-4BC0-99B1-E97D69DD3737}" presName="parTrans" presStyleCnt="0"/>
      <dgm:spPr/>
    </dgm:pt>
    <dgm:pt modelId="{5CC7C8CF-9FB5-4512-BCB1-1651EC5B82F9}" type="pres">
      <dgm:prSet presAssocID="{D33EFC2C-123E-483C-853C-76DAB1CC3827}" presName="node" presStyleLbl="alignAccFollowNode1" presStyleIdx="0" presStyleCnt="3">
        <dgm:presLayoutVars>
          <dgm:bulletEnabled val="1"/>
        </dgm:presLayoutVars>
      </dgm:prSet>
      <dgm:spPr/>
    </dgm:pt>
    <dgm:pt modelId="{FB800158-8777-4DAE-9222-0F14BB85D358}" type="pres">
      <dgm:prSet presAssocID="{DD8C02D8-9083-49D9-986B-2E4252DB0406}" presName="vSp" presStyleCnt="0"/>
      <dgm:spPr/>
    </dgm:pt>
    <dgm:pt modelId="{570411EE-BE29-44C4-B0C0-0E6014D7519B}" type="pres">
      <dgm:prSet presAssocID="{8DCC1845-AE95-49FD-93C5-B17AFE975995}" presName="horFlow" presStyleCnt="0"/>
      <dgm:spPr/>
    </dgm:pt>
    <dgm:pt modelId="{35908F70-0B31-4F04-840E-75F6CF283F59}" type="pres">
      <dgm:prSet presAssocID="{8DCC1845-AE95-49FD-93C5-B17AFE975995}" presName="bigChev" presStyleLbl="node1" presStyleIdx="1" presStyleCnt="3"/>
      <dgm:spPr/>
    </dgm:pt>
    <dgm:pt modelId="{FC5CE6D7-ABD7-4BA8-896D-C6E8CA87FAFD}" type="pres">
      <dgm:prSet presAssocID="{3815E13A-31A9-4DA7-AB64-65FFB2A71866}" presName="parTrans" presStyleCnt="0"/>
      <dgm:spPr/>
    </dgm:pt>
    <dgm:pt modelId="{F3D38F91-FD15-45E8-BB06-B0B1ED6951A1}" type="pres">
      <dgm:prSet presAssocID="{16786549-E32A-4D9D-980A-EA94B4ECE882}" presName="node" presStyleLbl="alignAccFollowNode1" presStyleIdx="1" presStyleCnt="3">
        <dgm:presLayoutVars>
          <dgm:bulletEnabled val="1"/>
        </dgm:presLayoutVars>
      </dgm:prSet>
      <dgm:spPr/>
    </dgm:pt>
    <dgm:pt modelId="{39BF8F74-BA63-4E16-B576-CEAAEE932EAD}" type="pres">
      <dgm:prSet presAssocID="{8DCC1845-AE95-49FD-93C5-B17AFE975995}" presName="vSp" presStyleCnt="0"/>
      <dgm:spPr/>
    </dgm:pt>
    <dgm:pt modelId="{F6C2EB25-5763-4DEE-8888-CCA1AE6BEDBB}" type="pres">
      <dgm:prSet presAssocID="{46FDA667-9A2B-47B9-B8AE-0E36815CEC45}" presName="horFlow" presStyleCnt="0"/>
      <dgm:spPr/>
    </dgm:pt>
    <dgm:pt modelId="{0BF4964F-FDBA-43B6-8059-0B576EC90ECE}" type="pres">
      <dgm:prSet presAssocID="{46FDA667-9A2B-47B9-B8AE-0E36815CEC45}" presName="bigChev" presStyleLbl="node1" presStyleIdx="2" presStyleCnt="3"/>
      <dgm:spPr/>
    </dgm:pt>
    <dgm:pt modelId="{3D547752-70C2-4949-95B1-4C6BB1A2F5B7}" type="pres">
      <dgm:prSet presAssocID="{3FD17795-D2C5-475D-86D7-B9DC1A19B0AD}" presName="parTrans" presStyleCnt="0"/>
      <dgm:spPr/>
    </dgm:pt>
    <dgm:pt modelId="{15DC17A0-52AF-483C-947B-3CFC09969B4F}" type="pres">
      <dgm:prSet presAssocID="{9B37D91F-F777-4F5E-823C-D9312546FBA7}" presName="node" presStyleLbl="alignAccFollowNode1" presStyleIdx="2" presStyleCnt="3">
        <dgm:presLayoutVars>
          <dgm:bulletEnabled val="1"/>
        </dgm:presLayoutVars>
      </dgm:prSet>
      <dgm:spPr/>
    </dgm:pt>
  </dgm:ptLst>
  <dgm:cxnLst>
    <dgm:cxn modelId="{567BB715-A598-476A-9E42-E95C23908047}" type="presOf" srcId="{16786549-E32A-4D9D-980A-EA94B4ECE882}" destId="{F3D38F91-FD15-45E8-BB06-B0B1ED6951A1}" srcOrd="0" destOrd="0" presId="urn:microsoft.com/office/officeart/2005/8/layout/lProcess3"/>
    <dgm:cxn modelId="{9B9B8723-0D15-4440-8E12-1237F172B33A}" type="presOf" srcId="{9B37D91F-F777-4F5E-823C-D9312546FBA7}" destId="{15DC17A0-52AF-483C-947B-3CFC09969B4F}" srcOrd="0" destOrd="0" presId="urn:microsoft.com/office/officeart/2005/8/layout/lProcess3"/>
    <dgm:cxn modelId="{86D5E22C-5BCA-4131-9D91-2469C1095A6F}" srcId="{B01A219C-35DE-4EAE-9E50-AD9C2C1109BA}" destId="{8DCC1845-AE95-49FD-93C5-B17AFE975995}" srcOrd="1" destOrd="0" parTransId="{AD65150F-8DD7-4C09-A447-EC0945ECFADC}" sibTransId="{DCE3A045-8B61-4D25-A5C4-4309A2575FC2}"/>
    <dgm:cxn modelId="{DC16CB4A-E562-4B53-8134-6978DAC0F478}" srcId="{46FDA667-9A2B-47B9-B8AE-0E36815CEC45}" destId="{9B37D91F-F777-4F5E-823C-D9312546FBA7}" srcOrd="0" destOrd="0" parTransId="{3FD17795-D2C5-475D-86D7-B9DC1A19B0AD}" sibTransId="{3449659F-0B0E-4A4E-A100-D84B31BFDA14}"/>
    <dgm:cxn modelId="{FD572B55-403A-4F57-AD86-C7B5FF78D321}" srcId="{B01A219C-35DE-4EAE-9E50-AD9C2C1109BA}" destId="{46FDA667-9A2B-47B9-B8AE-0E36815CEC45}" srcOrd="2" destOrd="0" parTransId="{FB3027B8-487F-4265-993B-89C5542315EF}" sibTransId="{BA0227A2-E9DB-4D86-A21C-11F4DD03B268}"/>
    <dgm:cxn modelId="{3B36966A-DBB5-4879-9613-E058ABABF308}" srcId="{DD8C02D8-9083-49D9-986B-2E4252DB0406}" destId="{D33EFC2C-123E-483C-853C-76DAB1CC3827}" srcOrd="0" destOrd="0" parTransId="{73E3E5EA-C99C-4BC0-99B1-E97D69DD3737}" sibTransId="{5BD3BD75-14C8-4DC0-AF66-4C935EECD30A}"/>
    <dgm:cxn modelId="{D0480770-AF29-449C-8B46-7279ECB2F1FE}" srcId="{B01A219C-35DE-4EAE-9E50-AD9C2C1109BA}" destId="{DD8C02D8-9083-49D9-986B-2E4252DB0406}" srcOrd="0" destOrd="0" parTransId="{E1F2D52F-160E-4414-9D71-27F3C1A3CE2F}" sibTransId="{693F4544-7191-470D-A94D-5DA1C0A3C95C}"/>
    <dgm:cxn modelId="{6A4BBFA8-A462-4352-96FE-57DDC799FC41}" type="presOf" srcId="{D33EFC2C-123E-483C-853C-76DAB1CC3827}" destId="{5CC7C8CF-9FB5-4512-BCB1-1651EC5B82F9}" srcOrd="0" destOrd="0" presId="urn:microsoft.com/office/officeart/2005/8/layout/lProcess3"/>
    <dgm:cxn modelId="{57C6B6D6-59F8-4E17-97C3-1E98D9264812}" type="presOf" srcId="{B01A219C-35DE-4EAE-9E50-AD9C2C1109BA}" destId="{12303817-16F5-4292-AA86-51A5CC2EBECE}" srcOrd="0" destOrd="0" presId="urn:microsoft.com/office/officeart/2005/8/layout/lProcess3"/>
    <dgm:cxn modelId="{2CB54CDF-8A39-4868-9271-FE54898EF33B}" srcId="{8DCC1845-AE95-49FD-93C5-B17AFE975995}" destId="{16786549-E32A-4D9D-980A-EA94B4ECE882}" srcOrd="0" destOrd="0" parTransId="{3815E13A-31A9-4DA7-AB64-65FFB2A71866}" sibTransId="{7BAA3352-C01C-4C2D-85D6-85BBEAAAFFF8}"/>
    <dgm:cxn modelId="{099698E4-B230-4392-9B74-02EC438FE17B}" type="presOf" srcId="{8DCC1845-AE95-49FD-93C5-B17AFE975995}" destId="{35908F70-0B31-4F04-840E-75F6CF283F59}" srcOrd="0" destOrd="0" presId="urn:microsoft.com/office/officeart/2005/8/layout/lProcess3"/>
    <dgm:cxn modelId="{55179FE7-1317-43CB-954D-5832F6D786A6}" type="presOf" srcId="{DD8C02D8-9083-49D9-986B-2E4252DB0406}" destId="{8F2EE444-6910-4ABB-8299-E5B26AEAB7E2}" srcOrd="0" destOrd="0" presId="urn:microsoft.com/office/officeart/2005/8/layout/lProcess3"/>
    <dgm:cxn modelId="{624BFEED-2830-43D0-8F9E-12D8568FE74E}" type="presOf" srcId="{46FDA667-9A2B-47B9-B8AE-0E36815CEC45}" destId="{0BF4964F-FDBA-43B6-8059-0B576EC90ECE}" srcOrd="0" destOrd="0" presId="urn:microsoft.com/office/officeart/2005/8/layout/lProcess3"/>
    <dgm:cxn modelId="{EBC40FE0-88C7-4645-9EFA-98532296BA32}" type="presParOf" srcId="{12303817-16F5-4292-AA86-51A5CC2EBECE}" destId="{A1A8A008-931A-4069-A3FB-EE1B272E7978}" srcOrd="0" destOrd="0" presId="urn:microsoft.com/office/officeart/2005/8/layout/lProcess3"/>
    <dgm:cxn modelId="{1F3D39D9-AA4A-4DAD-BE3E-66F94BDB62AC}" type="presParOf" srcId="{A1A8A008-931A-4069-A3FB-EE1B272E7978}" destId="{8F2EE444-6910-4ABB-8299-E5B26AEAB7E2}" srcOrd="0" destOrd="0" presId="urn:microsoft.com/office/officeart/2005/8/layout/lProcess3"/>
    <dgm:cxn modelId="{D0050DC1-2DAC-4DEB-928E-4F03CA807E36}" type="presParOf" srcId="{A1A8A008-931A-4069-A3FB-EE1B272E7978}" destId="{02A798B3-3FCC-41F9-9685-8341FC0A128C}" srcOrd="1" destOrd="0" presId="urn:microsoft.com/office/officeart/2005/8/layout/lProcess3"/>
    <dgm:cxn modelId="{A0EB4A99-C3E8-459C-9D74-5B626D5A4D17}" type="presParOf" srcId="{A1A8A008-931A-4069-A3FB-EE1B272E7978}" destId="{5CC7C8CF-9FB5-4512-BCB1-1651EC5B82F9}" srcOrd="2" destOrd="0" presId="urn:microsoft.com/office/officeart/2005/8/layout/lProcess3"/>
    <dgm:cxn modelId="{19745750-9F9A-4A0E-8DE9-1F0777228F49}" type="presParOf" srcId="{12303817-16F5-4292-AA86-51A5CC2EBECE}" destId="{FB800158-8777-4DAE-9222-0F14BB85D358}" srcOrd="1" destOrd="0" presId="urn:microsoft.com/office/officeart/2005/8/layout/lProcess3"/>
    <dgm:cxn modelId="{468DD793-7646-43F7-BA65-627519F3D047}" type="presParOf" srcId="{12303817-16F5-4292-AA86-51A5CC2EBECE}" destId="{570411EE-BE29-44C4-B0C0-0E6014D7519B}" srcOrd="2" destOrd="0" presId="urn:microsoft.com/office/officeart/2005/8/layout/lProcess3"/>
    <dgm:cxn modelId="{666859F7-A3A7-43F8-B2D2-B707136B800B}" type="presParOf" srcId="{570411EE-BE29-44C4-B0C0-0E6014D7519B}" destId="{35908F70-0B31-4F04-840E-75F6CF283F59}" srcOrd="0" destOrd="0" presId="urn:microsoft.com/office/officeart/2005/8/layout/lProcess3"/>
    <dgm:cxn modelId="{EE36ADFF-01CE-4789-A551-E93F6BF3E007}" type="presParOf" srcId="{570411EE-BE29-44C4-B0C0-0E6014D7519B}" destId="{FC5CE6D7-ABD7-4BA8-896D-C6E8CA87FAFD}" srcOrd="1" destOrd="0" presId="urn:microsoft.com/office/officeart/2005/8/layout/lProcess3"/>
    <dgm:cxn modelId="{3310D9FC-C969-44E6-81DD-584DBDF575DD}" type="presParOf" srcId="{570411EE-BE29-44C4-B0C0-0E6014D7519B}" destId="{F3D38F91-FD15-45E8-BB06-B0B1ED6951A1}" srcOrd="2" destOrd="0" presId="urn:microsoft.com/office/officeart/2005/8/layout/lProcess3"/>
    <dgm:cxn modelId="{5B94AF7D-C821-4DA7-A0B4-B90554088A11}" type="presParOf" srcId="{12303817-16F5-4292-AA86-51A5CC2EBECE}" destId="{39BF8F74-BA63-4E16-B576-CEAAEE932EAD}" srcOrd="3" destOrd="0" presId="urn:microsoft.com/office/officeart/2005/8/layout/lProcess3"/>
    <dgm:cxn modelId="{3F59D067-6A16-451D-85D5-52BD59669588}" type="presParOf" srcId="{12303817-16F5-4292-AA86-51A5CC2EBECE}" destId="{F6C2EB25-5763-4DEE-8888-CCA1AE6BEDBB}" srcOrd="4" destOrd="0" presId="urn:microsoft.com/office/officeart/2005/8/layout/lProcess3"/>
    <dgm:cxn modelId="{C2AD91E6-2362-41B8-8466-B2E8159456EF}" type="presParOf" srcId="{F6C2EB25-5763-4DEE-8888-CCA1AE6BEDBB}" destId="{0BF4964F-FDBA-43B6-8059-0B576EC90ECE}" srcOrd="0" destOrd="0" presId="urn:microsoft.com/office/officeart/2005/8/layout/lProcess3"/>
    <dgm:cxn modelId="{EAEB1269-C6FD-4319-BCD8-CB18502A39F0}" type="presParOf" srcId="{F6C2EB25-5763-4DEE-8888-CCA1AE6BEDBB}" destId="{3D547752-70C2-4949-95B1-4C6BB1A2F5B7}" srcOrd="1" destOrd="0" presId="urn:microsoft.com/office/officeart/2005/8/layout/lProcess3"/>
    <dgm:cxn modelId="{F5DD4540-F10D-4AF6-BE70-E914D677C904}" type="presParOf" srcId="{F6C2EB25-5763-4DEE-8888-CCA1AE6BEDBB}" destId="{15DC17A0-52AF-483C-947B-3CFC09969B4F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Министерство (управление) образова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Районные отделы образования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РО, ИПК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КДН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Прокуратура  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е образовательные и иные центры 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АНО 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Уполномоченный по правам ребенка регион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истерство здравоохранения </a:t>
          </a: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 custLinFactNeighborX="-1067" custLinFactNeighborY="29">
        <dgm:presLayoutVars>
          <dgm:bulletEnabled val="1"/>
        </dgm:presLayoutVars>
      </dgm:prSet>
      <dgm:spPr/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>
        <dgm:presLayoutVars>
          <dgm:bulletEnabled val="1"/>
        </dgm:presLayoutVars>
      </dgm:prSet>
      <dgm:spPr/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</dgm:pt>
  </dgm:ptLst>
  <dgm:cxnLst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A046FD4-1DE2-45EC-B150-2F20B2F8DE8C}" type="doc">
      <dgm:prSet loTypeId="urn:microsoft.com/office/officeart/2005/8/layout/vList5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B6446303-4A38-4568-AA36-7E55A5DDF4DC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3200" dirty="0">
              <a:solidFill>
                <a:schemeClr val="tx1"/>
              </a:solidFill>
            </a:rPr>
            <a:t>МКДО</a:t>
          </a:r>
        </a:p>
      </dgm:t>
    </dgm:pt>
    <dgm:pt modelId="{04226691-924D-49C5-9DC5-D9C04E4D26EF}" type="parTrans" cxnId="{0A2CBDD5-2488-4133-B17F-7EDEC38590BE}">
      <dgm:prSet/>
      <dgm:spPr/>
      <dgm:t>
        <a:bodyPr/>
        <a:lstStyle/>
        <a:p>
          <a:endParaRPr lang="ru-RU"/>
        </a:p>
      </dgm:t>
    </dgm:pt>
    <dgm:pt modelId="{4D36F8F7-E19B-4B2A-AEBA-3E8F91E8D10C}" type="sibTrans" cxnId="{0A2CBDD5-2488-4133-B17F-7EDEC38590BE}">
      <dgm:prSet/>
      <dgm:spPr/>
      <dgm:t>
        <a:bodyPr/>
        <a:lstStyle/>
        <a:p>
          <a:endParaRPr lang="ru-RU"/>
        </a:p>
      </dgm:t>
    </dgm:pt>
    <dgm:pt modelId="{08FF269F-E11F-4BF0-87A2-07D5A818669B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9 областей качества</a:t>
          </a:r>
        </a:p>
      </dgm:t>
    </dgm:pt>
    <dgm:pt modelId="{D1100984-1137-4CB0-95FE-4194788D3533}" type="parTrans" cxnId="{E397CE1C-F56E-4DEB-BA95-5DA335972F01}">
      <dgm:prSet/>
      <dgm:spPr/>
      <dgm:t>
        <a:bodyPr/>
        <a:lstStyle/>
        <a:p>
          <a:endParaRPr lang="ru-RU"/>
        </a:p>
      </dgm:t>
    </dgm:pt>
    <dgm:pt modelId="{6A352FEA-317B-4321-822E-29E766FE6AFE}" type="sibTrans" cxnId="{E397CE1C-F56E-4DEB-BA95-5DA335972F01}">
      <dgm:prSet/>
      <dgm:spPr/>
      <dgm:t>
        <a:bodyPr/>
        <a:lstStyle/>
        <a:p>
          <a:endParaRPr lang="ru-RU"/>
        </a:p>
      </dgm:t>
    </dgm:pt>
    <dgm:pt modelId="{FFC338EE-B969-4E22-A88A-88A07429A294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95 показателей </a:t>
          </a:r>
        </a:p>
      </dgm:t>
    </dgm:pt>
    <dgm:pt modelId="{98C7586C-5FA4-4372-9264-FB3B0BFF5DC0}" type="parTrans" cxnId="{3D9E4780-ACEF-49E9-8E72-46E0CA0D825F}">
      <dgm:prSet/>
      <dgm:spPr/>
      <dgm:t>
        <a:bodyPr/>
        <a:lstStyle/>
        <a:p>
          <a:endParaRPr lang="ru-RU"/>
        </a:p>
      </dgm:t>
    </dgm:pt>
    <dgm:pt modelId="{AA1B8426-F2BC-4F21-ADEA-F2DE81DE5A4E}" type="sibTrans" cxnId="{3D9E4780-ACEF-49E9-8E72-46E0CA0D825F}">
      <dgm:prSet/>
      <dgm:spPr/>
      <dgm:t>
        <a:bodyPr/>
        <a:lstStyle/>
        <a:p>
          <a:endParaRPr lang="ru-RU"/>
        </a:p>
      </dgm:t>
    </dgm:pt>
    <dgm:pt modelId="{30F4B8E8-8E25-4C12-907E-109CCC1B27C8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Федеральные показатели самообследования </a:t>
          </a:r>
        </a:p>
      </dgm:t>
    </dgm:pt>
    <dgm:pt modelId="{9DB10545-A94E-42BD-AB46-62D176CD356E}" type="parTrans" cxnId="{5F92D6CE-1A74-4A97-A98B-CC60E547658F}">
      <dgm:prSet/>
      <dgm:spPr/>
      <dgm:t>
        <a:bodyPr/>
        <a:lstStyle/>
        <a:p>
          <a:endParaRPr lang="ru-RU"/>
        </a:p>
      </dgm:t>
    </dgm:pt>
    <dgm:pt modelId="{F9275D67-8434-42D0-BB5E-21A34B5D94A6}" type="sibTrans" cxnId="{5F92D6CE-1A74-4A97-A98B-CC60E547658F}">
      <dgm:prSet/>
      <dgm:spPr/>
      <dgm:t>
        <a:bodyPr/>
        <a:lstStyle/>
        <a:p>
          <a:endParaRPr lang="ru-RU"/>
        </a:p>
      </dgm:t>
    </dgm:pt>
    <dgm:pt modelId="{1CBEEC0E-07C9-4FF1-9E5E-521B27245C46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2 направления </a:t>
          </a:r>
        </a:p>
      </dgm:t>
    </dgm:pt>
    <dgm:pt modelId="{6DDDD164-0146-4690-8F50-7EEF1333FAF5}" type="parTrans" cxnId="{639C6442-EB6F-4945-B722-1FD385C1AEFF}">
      <dgm:prSet/>
      <dgm:spPr/>
      <dgm:t>
        <a:bodyPr/>
        <a:lstStyle/>
        <a:p>
          <a:endParaRPr lang="ru-RU"/>
        </a:p>
      </dgm:t>
    </dgm:pt>
    <dgm:pt modelId="{4E42F918-8A4A-4B42-8D83-2EF9F872D3F3}" type="sibTrans" cxnId="{639C6442-EB6F-4945-B722-1FD385C1AEFF}">
      <dgm:prSet/>
      <dgm:spPr/>
      <dgm:t>
        <a:bodyPr/>
        <a:lstStyle/>
        <a:p>
          <a:endParaRPr lang="ru-RU"/>
        </a:p>
      </dgm:t>
    </dgm:pt>
    <dgm:pt modelId="{10E8F5AB-998E-42D2-A4AA-2FD93B21E6BC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20 показателей </a:t>
          </a:r>
        </a:p>
      </dgm:t>
    </dgm:pt>
    <dgm:pt modelId="{04978F8B-7B51-48B0-AE91-E09E2EDC15DE}" type="parTrans" cxnId="{11C11903-0252-41CB-81A0-244B2E3A809E}">
      <dgm:prSet/>
      <dgm:spPr/>
      <dgm:t>
        <a:bodyPr/>
        <a:lstStyle/>
        <a:p>
          <a:endParaRPr lang="ru-RU"/>
        </a:p>
      </dgm:t>
    </dgm:pt>
    <dgm:pt modelId="{A5924222-B452-4C6B-8839-E4A827504318}" type="sibTrans" cxnId="{11C11903-0252-41CB-81A0-244B2E3A809E}">
      <dgm:prSet/>
      <dgm:spPr/>
      <dgm:t>
        <a:bodyPr/>
        <a:lstStyle/>
        <a:p>
          <a:endParaRPr lang="ru-RU"/>
        </a:p>
      </dgm:t>
    </dgm:pt>
    <dgm:pt modelId="{DFF2BFF2-3D83-4357-A930-3B0844AF32F9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Региональные показатели самообследования </a:t>
          </a:r>
        </a:p>
      </dgm:t>
    </dgm:pt>
    <dgm:pt modelId="{EA3455F6-8864-4A51-B216-C6147402C6E5}" type="parTrans" cxnId="{637AF8CD-21CA-40D0-BD04-F758CFA5B38C}">
      <dgm:prSet/>
      <dgm:spPr/>
      <dgm:t>
        <a:bodyPr/>
        <a:lstStyle/>
        <a:p>
          <a:endParaRPr lang="ru-RU"/>
        </a:p>
      </dgm:t>
    </dgm:pt>
    <dgm:pt modelId="{A52C5230-5D46-43B2-9538-D026EA0D6222}" type="sibTrans" cxnId="{637AF8CD-21CA-40D0-BD04-F758CFA5B38C}">
      <dgm:prSet/>
      <dgm:spPr/>
      <dgm:t>
        <a:bodyPr/>
        <a:lstStyle/>
        <a:p>
          <a:endParaRPr lang="ru-RU"/>
        </a:p>
      </dgm:t>
    </dgm:pt>
    <dgm:pt modelId="{F99D5CBC-DC25-4838-A04A-F8806E0D7B16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2800" dirty="0"/>
            <a:t>5 направлений </a:t>
          </a:r>
        </a:p>
      </dgm:t>
    </dgm:pt>
    <dgm:pt modelId="{8109B7FD-5C79-44BE-B4FD-389741C34061}" type="parTrans" cxnId="{16024236-C74B-43CF-A5D2-13D46FC86BA7}">
      <dgm:prSet/>
      <dgm:spPr/>
      <dgm:t>
        <a:bodyPr/>
        <a:lstStyle/>
        <a:p>
          <a:endParaRPr lang="ru-RU"/>
        </a:p>
      </dgm:t>
    </dgm:pt>
    <dgm:pt modelId="{93171C25-5CC7-4C88-A3DE-59DDBB78930D}" type="sibTrans" cxnId="{16024236-C74B-43CF-A5D2-13D46FC86BA7}">
      <dgm:prSet/>
      <dgm:spPr/>
      <dgm:t>
        <a:bodyPr/>
        <a:lstStyle/>
        <a:p>
          <a:endParaRPr lang="ru-RU"/>
        </a:p>
      </dgm:t>
    </dgm:pt>
    <dgm:pt modelId="{045EE48A-6C6E-4695-B38A-9B813DA90C9D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2800" dirty="0"/>
            <a:t>250 показателей </a:t>
          </a:r>
        </a:p>
      </dgm:t>
    </dgm:pt>
    <dgm:pt modelId="{3F95CEF3-865B-4EE0-827E-FC01FC4FFE1D}" type="parTrans" cxnId="{2E466406-8B67-459C-88B4-B377D398EF44}">
      <dgm:prSet/>
      <dgm:spPr/>
      <dgm:t>
        <a:bodyPr/>
        <a:lstStyle/>
        <a:p>
          <a:endParaRPr lang="ru-RU"/>
        </a:p>
      </dgm:t>
    </dgm:pt>
    <dgm:pt modelId="{FDF37914-1286-4D80-895C-F04661897CD8}" type="sibTrans" cxnId="{2E466406-8B67-459C-88B4-B377D398EF44}">
      <dgm:prSet/>
      <dgm:spPr/>
      <dgm:t>
        <a:bodyPr/>
        <a:lstStyle/>
        <a:p>
          <a:endParaRPr lang="ru-RU"/>
        </a:p>
      </dgm:t>
    </dgm:pt>
    <dgm:pt modelId="{FEAFE4E4-4C50-4FA7-A380-3FE8C96036B3}" type="pres">
      <dgm:prSet presAssocID="{0A046FD4-1DE2-45EC-B150-2F20B2F8DE8C}" presName="Name0" presStyleCnt="0">
        <dgm:presLayoutVars>
          <dgm:dir/>
          <dgm:animLvl val="lvl"/>
          <dgm:resizeHandles val="exact"/>
        </dgm:presLayoutVars>
      </dgm:prSet>
      <dgm:spPr/>
    </dgm:pt>
    <dgm:pt modelId="{D4634157-C56E-40E0-8FAF-1BEDE1F17E1C}" type="pres">
      <dgm:prSet presAssocID="{B6446303-4A38-4568-AA36-7E55A5DDF4DC}" presName="linNode" presStyleCnt="0"/>
      <dgm:spPr/>
    </dgm:pt>
    <dgm:pt modelId="{C7A395E7-8F2E-405A-B78C-CC1C8125B959}" type="pres">
      <dgm:prSet presAssocID="{B6446303-4A38-4568-AA36-7E55A5DDF4DC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A5362C9C-E33D-4AEA-99AA-6DAABF4C3921}" type="pres">
      <dgm:prSet presAssocID="{B6446303-4A38-4568-AA36-7E55A5DDF4DC}" presName="descendantText" presStyleLbl="alignAccFollowNode1" presStyleIdx="0" presStyleCnt="3">
        <dgm:presLayoutVars>
          <dgm:bulletEnabled val="1"/>
        </dgm:presLayoutVars>
      </dgm:prSet>
      <dgm:spPr/>
    </dgm:pt>
    <dgm:pt modelId="{35026166-96DA-4241-9644-CF69F028887A}" type="pres">
      <dgm:prSet presAssocID="{4D36F8F7-E19B-4B2A-AEBA-3E8F91E8D10C}" presName="sp" presStyleCnt="0"/>
      <dgm:spPr/>
    </dgm:pt>
    <dgm:pt modelId="{6B26CC86-6D95-4895-9CFF-2DA2647236A7}" type="pres">
      <dgm:prSet presAssocID="{30F4B8E8-8E25-4C12-907E-109CCC1B27C8}" presName="linNode" presStyleCnt="0"/>
      <dgm:spPr/>
    </dgm:pt>
    <dgm:pt modelId="{3C9C8522-CF6E-4683-81E0-70ACF2C15935}" type="pres">
      <dgm:prSet presAssocID="{30F4B8E8-8E25-4C12-907E-109CCC1B27C8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5969DDA4-4B0F-4B23-8043-2981EC5619B6}" type="pres">
      <dgm:prSet presAssocID="{30F4B8E8-8E25-4C12-907E-109CCC1B27C8}" presName="descendantText" presStyleLbl="alignAccFollowNode1" presStyleIdx="1" presStyleCnt="3">
        <dgm:presLayoutVars>
          <dgm:bulletEnabled val="1"/>
        </dgm:presLayoutVars>
      </dgm:prSet>
      <dgm:spPr/>
    </dgm:pt>
    <dgm:pt modelId="{22341133-2A63-401E-95A3-7A30CDB1FC81}" type="pres">
      <dgm:prSet presAssocID="{F9275D67-8434-42D0-BB5E-21A34B5D94A6}" presName="sp" presStyleCnt="0"/>
      <dgm:spPr/>
    </dgm:pt>
    <dgm:pt modelId="{ABE482B8-DFF2-44F0-9E15-585E05B59D1F}" type="pres">
      <dgm:prSet presAssocID="{DFF2BFF2-3D83-4357-A930-3B0844AF32F9}" presName="linNode" presStyleCnt="0"/>
      <dgm:spPr/>
    </dgm:pt>
    <dgm:pt modelId="{DF9CD06B-8EED-4137-884E-1A6274343987}" type="pres">
      <dgm:prSet presAssocID="{DFF2BFF2-3D83-4357-A930-3B0844AF32F9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7C32EAF7-EFA4-497E-91D3-6E81D633B1D9}" type="pres">
      <dgm:prSet presAssocID="{DFF2BFF2-3D83-4357-A930-3B0844AF32F9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11C11903-0252-41CB-81A0-244B2E3A809E}" srcId="{30F4B8E8-8E25-4C12-907E-109CCC1B27C8}" destId="{10E8F5AB-998E-42D2-A4AA-2FD93B21E6BC}" srcOrd="1" destOrd="0" parTransId="{04978F8B-7B51-48B0-AE91-E09E2EDC15DE}" sibTransId="{A5924222-B452-4C6B-8839-E4A827504318}"/>
    <dgm:cxn modelId="{2E466406-8B67-459C-88B4-B377D398EF44}" srcId="{DFF2BFF2-3D83-4357-A930-3B0844AF32F9}" destId="{045EE48A-6C6E-4695-B38A-9B813DA90C9D}" srcOrd="1" destOrd="0" parTransId="{3F95CEF3-865B-4EE0-827E-FC01FC4FFE1D}" sibTransId="{FDF37914-1286-4D80-895C-F04661897CD8}"/>
    <dgm:cxn modelId="{E397CE1C-F56E-4DEB-BA95-5DA335972F01}" srcId="{B6446303-4A38-4568-AA36-7E55A5DDF4DC}" destId="{08FF269F-E11F-4BF0-87A2-07D5A818669B}" srcOrd="0" destOrd="0" parTransId="{D1100984-1137-4CB0-95FE-4194788D3533}" sibTransId="{6A352FEA-317B-4321-822E-29E766FE6AFE}"/>
    <dgm:cxn modelId="{38169323-6A59-48B8-A983-0E87008FDFF3}" type="presOf" srcId="{B6446303-4A38-4568-AA36-7E55A5DDF4DC}" destId="{C7A395E7-8F2E-405A-B78C-CC1C8125B959}" srcOrd="0" destOrd="0" presId="urn:microsoft.com/office/officeart/2005/8/layout/vList5"/>
    <dgm:cxn modelId="{04407028-FCED-4004-94EE-218A98F31E86}" type="presOf" srcId="{10E8F5AB-998E-42D2-A4AA-2FD93B21E6BC}" destId="{5969DDA4-4B0F-4B23-8043-2981EC5619B6}" srcOrd="0" destOrd="1" presId="urn:microsoft.com/office/officeart/2005/8/layout/vList5"/>
    <dgm:cxn modelId="{2C7A3430-6896-489A-90CF-041CB1C9A0AB}" type="presOf" srcId="{045EE48A-6C6E-4695-B38A-9B813DA90C9D}" destId="{7C32EAF7-EFA4-497E-91D3-6E81D633B1D9}" srcOrd="0" destOrd="1" presId="urn:microsoft.com/office/officeart/2005/8/layout/vList5"/>
    <dgm:cxn modelId="{16024236-C74B-43CF-A5D2-13D46FC86BA7}" srcId="{DFF2BFF2-3D83-4357-A930-3B0844AF32F9}" destId="{F99D5CBC-DC25-4838-A04A-F8806E0D7B16}" srcOrd="0" destOrd="0" parTransId="{8109B7FD-5C79-44BE-B4FD-389741C34061}" sibTransId="{93171C25-5CC7-4C88-A3DE-59DDBB78930D}"/>
    <dgm:cxn modelId="{639C6442-EB6F-4945-B722-1FD385C1AEFF}" srcId="{30F4B8E8-8E25-4C12-907E-109CCC1B27C8}" destId="{1CBEEC0E-07C9-4FF1-9E5E-521B27245C46}" srcOrd="0" destOrd="0" parTransId="{6DDDD164-0146-4690-8F50-7EEF1333FAF5}" sibTransId="{4E42F918-8A4A-4B42-8D83-2EF9F872D3F3}"/>
    <dgm:cxn modelId="{5565774D-5B72-4375-ACF7-09E1A20C0241}" type="presOf" srcId="{30F4B8E8-8E25-4C12-907E-109CCC1B27C8}" destId="{3C9C8522-CF6E-4683-81E0-70ACF2C15935}" srcOrd="0" destOrd="0" presId="urn:microsoft.com/office/officeart/2005/8/layout/vList5"/>
    <dgm:cxn modelId="{99D8BB4D-5BF3-414F-81C8-0AEF372A9DA2}" type="presOf" srcId="{0A046FD4-1DE2-45EC-B150-2F20B2F8DE8C}" destId="{FEAFE4E4-4C50-4FA7-A380-3FE8C96036B3}" srcOrd="0" destOrd="0" presId="urn:microsoft.com/office/officeart/2005/8/layout/vList5"/>
    <dgm:cxn modelId="{13BC0779-B9F3-4959-BB72-DB2F8DD8F43B}" type="presOf" srcId="{08FF269F-E11F-4BF0-87A2-07D5A818669B}" destId="{A5362C9C-E33D-4AEA-99AA-6DAABF4C3921}" srcOrd="0" destOrd="0" presId="urn:microsoft.com/office/officeart/2005/8/layout/vList5"/>
    <dgm:cxn modelId="{3D9E4780-ACEF-49E9-8E72-46E0CA0D825F}" srcId="{B6446303-4A38-4568-AA36-7E55A5DDF4DC}" destId="{FFC338EE-B969-4E22-A88A-88A07429A294}" srcOrd="1" destOrd="0" parTransId="{98C7586C-5FA4-4372-9264-FB3B0BFF5DC0}" sibTransId="{AA1B8426-F2BC-4F21-ADEA-F2DE81DE5A4E}"/>
    <dgm:cxn modelId="{9F21BF9C-9229-46ED-8C34-C97090B8C52B}" type="presOf" srcId="{DFF2BFF2-3D83-4357-A930-3B0844AF32F9}" destId="{DF9CD06B-8EED-4137-884E-1A6274343987}" srcOrd="0" destOrd="0" presId="urn:microsoft.com/office/officeart/2005/8/layout/vList5"/>
    <dgm:cxn modelId="{AA11A9A5-BA93-47B4-993E-2B339EAEB595}" type="presOf" srcId="{FFC338EE-B969-4E22-A88A-88A07429A294}" destId="{A5362C9C-E33D-4AEA-99AA-6DAABF4C3921}" srcOrd="0" destOrd="1" presId="urn:microsoft.com/office/officeart/2005/8/layout/vList5"/>
    <dgm:cxn modelId="{6A3A00AE-66B3-426F-AECB-3652CCE884FA}" type="presOf" srcId="{F99D5CBC-DC25-4838-A04A-F8806E0D7B16}" destId="{7C32EAF7-EFA4-497E-91D3-6E81D633B1D9}" srcOrd="0" destOrd="0" presId="urn:microsoft.com/office/officeart/2005/8/layout/vList5"/>
    <dgm:cxn modelId="{56B906CD-E9D3-43FC-B837-ACB0440E2FC5}" type="presOf" srcId="{1CBEEC0E-07C9-4FF1-9E5E-521B27245C46}" destId="{5969DDA4-4B0F-4B23-8043-2981EC5619B6}" srcOrd="0" destOrd="0" presId="urn:microsoft.com/office/officeart/2005/8/layout/vList5"/>
    <dgm:cxn modelId="{637AF8CD-21CA-40D0-BD04-F758CFA5B38C}" srcId="{0A046FD4-1DE2-45EC-B150-2F20B2F8DE8C}" destId="{DFF2BFF2-3D83-4357-A930-3B0844AF32F9}" srcOrd="2" destOrd="0" parTransId="{EA3455F6-8864-4A51-B216-C6147402C6E5}" sibTransId="{A52C5230-5D46-43B2-9538-D026EA0D6222}"/>
    <dgm:cxn modelId="{5F92D6CE-1A74-4A97-A98B-CC60E547658F}" srcId="{0A046FD4-1DE2-45EC-B150-2F20B2F8DE8C}" destId="{30F4B8E8-8E25-4C12-907E-109CCC1B27C8}" srcOrd="1" destOrd="0" parTransId="{9DB10545-A94E-42BD-AB46-62D176CD356E}" sibTransId="{F9275D67-8434-42D0-BB5E-21A34B5D94A6}"/>
    <dgm:cxn modelId="{0A2CBDD5-2488-4133-B17F-7EDEC38590BE}" srcId="{0A046FD4-1DE2-45EC-B150-2F20B2F8DE8C}" destId="{B6446303-4A38-4568-AA36-7E55A5DDF4DC}" srcOrd="0" destOrd="0" parTransId="{04226691-924D-49C5-9DC5-D9C04E4D26EF}" sibTransId="{4D36F8F7-E19B-4B2A-AEBA-3E8F91E8D10C}"/>
    <dgm:cxn modelId="{F15C5FCC-E7E6-4E23-A8C2-37C70C00723C}" type="presParOf" srcId="{FEAFE4E4-4C50-4FA7-A380-3FE8C96036B3}" destId="{D4634157-C56E-40E0-8FAF-1BEDE1F17E1C}" srcOrd="0" destOrd="0" presId="urn:microsoft.com/office/officeart/2005/8/layout/vList5"/>
    <dgm:cxn modelId="{8AF27C6C-2DAC-49C4-B9D5-5F2E00FD31EF}" type="presParOf" srcId="{D4634157-C56E-40E0-8FAF-1BEDE1F17E1C}" destId="{C7A395E7-8F2E-405A-B78C-CC1C8125B959}" srcOrd="0" destOrd="0" presId="urn:microsoft.com/office/officeart/2005/8/layout/vList5"/>
    <dgm:cxn modelId="{109C32E7-4EF9-4520-BFBE-3BDFE7BBB8B4}" type="presParOf" srcId="{D4634157-C56E-40E0-8FAF-1BEDE1F17E1C}" destId="{A5362C9C-E33D-4AEA-99AA-6DAABF4C3921}" srcOrd="1" destOrd="0" presId="urn:microsoft.com/office/officeart/2005/8/layout/vList5"/>
    <dgm:cxn modelId="{A177E7AB-5F67-4A54-B905-569710194834}" type="presParOf" srcId="{FEAFE4E4-4C50-4FA7-A380-3FE8C96036B3}" destId="{35026166-96DA-4241-9644-CF69F028887A}" srcOrd="1" destOrd="0" presId="urn:microsoft.com/office/officeart/2005/8/layout/vList5"/>
    <dgm:cxn modelId="{21949C8E-EC86-4E44-BAF3-E6E1D28148CC}" type="presParOf" srcId="{FEAFE4E4-4C50-4FA7-A380-3FE8C96036B3}" destId="{6B26CC86-6D95-4895-9CFF-2DA2647236A7}" srcOrd="2" destOrd="0" presId="urn:microsoft.com/office/officeart/2005/8/layout/vList5"/>
    <dgm:cxn modelId="{C3C57643-5C93-4702-A502-E6BD896E0D12}" type="presParOf" srcId="{6B26CC86-6D95-4895-9CFF-2DA2647236A7}" destId="{3C9C8522-CF6E-4683-81E0-70ACF2C15935}" srcOrd="0" destOrd="0" presId="urn:microsoft.com/office/officeart/2005/8/layout/vList5"/>
    <dgm:cxn modelId="{CB4AF812-3A51-412A-82B6-81CECF49B8A5}" type="presParOf" srcId="{6B26CC86-6D95-4895-9CFF-2DA2647236A7}" destId="{5969DDA4-4B0F-4B23-8043-2981EC5619B6}" srcOrd="1" destOrd="0" presId="urn:microsoft.com/office/officeart/2005/8/layout/vList5"/>
    <dgm:cxn modelId="{185475F3-6268-4014-BCD0-3DCA1D0A6C95}" type="presParOf" srcId="{FEAFE4E4-4C50-4FA7-A380-3FE8C96036B3}" destId="{22341133-2A63-401E-95A3-7A30CDB1FC81}" srcOrd="3" destOrd="0" presId="urn:microsoft.com/office/officeart/2005/8/layout/vList5"/>
    <dgm:cxn modelId="{56220C9C-8F95-41F1-8414-1E86C422930F}" type="presParOf" srcId="{FEAFE4E4-4C50-4FA7-A380-3FE8C96036B3}" destId="{ABE482B8-DFF2-44F0-9E15-585E05B59D1F}" srcOrd="4" destOrd="0" presId="urn:microsoft.com/office/officeart/2005/8/layout/vList5"/>
    <dgm:cxn modelId="{CC9EA11D-A7E9-477B-AFA3-254848EB4AFA}" type="presParOf" srcId="{ABE482B8-DFF2-44F0-9E15-585E05B59D1F}" destId="{DF9CD06B-8EED-4137-884E-1A6274343987}" srcOrd="0" destOrd="0" presId="urn:microsoft.com/office/officeart/2005/8/layout/vList5"/>
    <dgm:cxn modelId="{CCB1C733-CC16-42B8-BCF3-7075D4EA8A4E}" type="presParOf" srcId="{ABE482B8-DFF2-44F0-9E15-585E05B59D1F}" destId="{7C32EAF7-EFA4-497E-91D3-6E81D633B1D9}" srcOrd="1" destOrd="0" presId="urn:microsoft.com/office/officeart/2005/8/layout/vList5"/>
  </dgm:cxnLst>
  <dgm:bg>
    <a:effectLst>
      <a:glow rad="228600">
        <a:schemeClr val="accent1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80650FE-1D3E-4939-BB65-627C3626BCCA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945DF57-A3AA-4F7E-B6FB-1D3D3708034E}">
      <dgm:prSet phldrT="[Текст]"/>
      <dgm:spPr/>
      <dgm:t>
        <a:bodyPr/>
        <a:lstStyle/>
        <a:p>
          <a:r>
            <a:rPr lang="ru-RU" dirty="0"/>
            <a:t>Запросы  </a:t>
          </a:r>
        </a:p>
      </dgm:t>
    </dgm:pt>
    <dgm:pt modelId="{2771B63F-BE07-4415-8ADA-51A2FDAB91A7}" type="parTrans" cxnId="{D800E95F-D3CC-4E44-916F-AA6914057138}">
      <dgm:prSet/>
      <dgm:spPr/>
      <dgm:t>
        <a:bodyPr/>
        <a:lstStyle/>
        <a:p>
          <a:endParaRPr lang="ru-RU"/>
        </a:p>
      </dgm:t>
    </dgm:pt>
    <dgm:pt modelId="{0DDF4B5E-4AF3-4ECE-9898-04F0A6949EBC}" type="sibTrans" cxnId="{D800E95F-D3CC-4E44-916F-AA6914057138}">
      <dgm:prSet/>
      <dgm:spPr/>
      <dgm:t>
        <a:bodyPr/>
        <a:lstStyle/>
        <a:p>
          <a:endParaRPr lang="ru-RU"/>
        </a:p>
      </dgm:t>
    </dgm:pt>
    <dgm:pt modelId="{88F4189C-42C2-4701-A490-ABED675040F2}">
      <dgm:prSet phldrT="[Текст]"/>
      <dgm:spPr/>
      <dgm:t>
        <a:bodyPr/>
        <a:lstStyle/>
        <a:p>
          <a:r>
            <a:rPr lang="ru-RU" dirty="0"/>
            <a:t>Мониторинги </a:t>
          </a:r>
        </a:p>
      </dgm:t>
    </dgm:pt>
    <dgm:pt modelId="{F53B7E5F-BBFF-4EAE-A4B8-72888D4D0CE1}" type="parTrans" cxnId="{5E0E69BC-EB5A-4472-8B7D-280ECDB07458}">
      <dgm:prSet/>
      <dgm:spPr/>
      <dgm:t>
        <a:bodyPr/>
        <a:lstStyle/>
        <a:p>
          <a:endParaRPr lang="ru-RU"/>
        </a:p>
      </dgm:t>
    </dgm:pt>
    <dgm:pt modelId="{C67688E9-A5DD-485F-AC51-6AAC53916F57}" type="sibTrans" cxnId="{5E0E69BC-EB5A-4472-8B7D-280ECDB07458}">
      <dgm:prSet/>
      <dgm:spPr/>
      <dgm:t>
        <a:bodyPr/>
        <a:lstStyle/>
        <a:p>
          <a:endParaRPr lang="ru-RU"/>
        </a:p>
      </dgm:t>
    </dgm:pt>
    <dgm:pt modelId="{E185FEBB-587B-46E3-9F6C-9E59A86F2E85}">
      <dgm:prSet phldrT="[Текст]"/>
      <dgm:spPr/>
      <dgm:t>
        <a:bodyPr/>
        <a:lstStyle/>
        <a:p>
          <a:r>
            <a:rPr lang="ru-RU" dirty="0"/>
            <a:t>Отсутствие типовых форм документов </a:t>
          </a:r>
        </a:p>
      </dgm:t>
    </dgm:pt>
    <dgm:pt modelId="{6DAEA4C7-EBC3-48D0-8DB4-F7F85FC78AE3}" type="parTrans" cxnId="{FB32E2F0-E2B3-44A3-A752-55D988089735}">
      <dgm:prSet/>
      <dgm:spPr/>
      <dgm:t>
        <a:bodyPr/>
        <a:lstStyle/>
        <a:p>
          <a:endParaRPr lang="ru-RU"/>
        </a:p>
      </dgm:t>
    </dgm:pt>
    <dgm:pt modelId="{8ADF8316-46D7-4871-A896-BF75B1BDBF28}" type="sibTrans" cxnId="{FB32E2F0-E2B3-44A3-A752-55D988089735}">
      <dgm:prSet/>
      <dgm:spPr/>
      <dgm:t>
        <a:bodyPr/>
        <a:lstStyle/>
        <a:p>
          <a:endParaRPr lang="ru-RU"/>
        </a:p>
      </dgm:t>
    </dgm:pt>
    <dgm:pt modelId="{17C855F2-08B2-4459-B867-3BD189F20404}">
      <dgm:prSet phldrT="[Текст]"/>
      <dgm:spPr/>
      <dgm:t>
        <a:bodyPr/>
        <a:lstStyle/>
        <a:p>
          <a:r>
            <a:rPr lang="ru-RU" dirty="0"/>
            <a:t>Отсутствие четких рамок функционала </a:t>
          </a:r>
        </a:p>
      </dgm:t>
    </dgm:pt>
    <dgm:pt modelId="{2847BC6F-7DAC-4845-9A05-C14E752E23EF}" type="parTrans" cxnId="{425DD882-443A-452C-9252-AB0A6CBB1127}">
      <dgm:prSet/>
      <dgm:spPr/>
      <dgm:t>
        <a:bodyPr/>
        <a:lstStyle/>
        <a:p>
          <a:endParaRPr lang="ru-RU"/>
        </a:p>
      </dgm:t>
    </dgm:pt>
    <dgm:pt modelId="{B014A290-F45E-4B6D-B784-8AFC3F3B9359}" type="sibTrans" cxnId="{425DD882-443A-452C-9252-AB0A6CBB1127}">
      <dgm:prSet/>
      <dgm:spPr/>
      <dgm:t>
        <a:bodyPr/>
        <a:lstStyle/>
        <a:p>
          <a:endParaRPr lang="ru-RU"/>
        </a:p>
      </dgm:t>
    </dgm:pt>
    <dgm:pt modelId="{EA248AE8-E72E-49BF-9C8D-7931FAE1DB47}">
      <dgm:prSet phldrT="[Текст]"/>
      <dgm:spPr/>
      <dgm:t>
        <a:bodyPr/>
        <a:lstStyle/>
        <a:p>
          <a:r>
            <a:rPr lang="ru-RU" dirty="0"/>
            <a:t>Отсутствие четких требований к перечню методических материалов </a:t>
          </a:r>
        </a:p>
      </dgm:t>
    </dgm:pt>
    <dgm:pt modelId="{D1E1A7AF-B57F-42BD-855A-0D790EC6AE8C}" type="sibTrans" cxnId="{0DA9BC76-FD51-44A5-84DF-38DB2E2185EF}">
      <dgm:prSet/>
      <dgm:spPr/>
      <dgm:t>
        <a:bodyPr/>
        <a:lstStyle/>
        <a:p>
          <a:endParaRPr lang="ru-RU"/>
        </a:p>
      </dgm:t>
    </dgm:pt>
    <dgm:pt modelId="{B071FB96-E06B-4A42-AF56-563A896C758F}" type="parTrans" cxnId="{0DA9BC76-FD51-44A5-84DF-38DB2E2185EF}">
      <dgm:prSet/>
      <dgm:spPr/>
      <dgm:t>
        <a:bodyPr/>
        <a:lstStyle/>
        <a:p>
          <a:endParaRPr lang="ru-RU"/>
        </a:p>
      </dgm:t>
    </dgm:pt>
    <dgm:pt modelId="{D93D6BC6-0F36-4A85-8617-C900729414DA}">
      <dgm:prSet/>
      <dgm:spPr/>
      <dgm:t>
        <a:bodyPr/>
        <a:lstStyle/>
        <a:p>
          <a:r>
            <a:rPr lang="ru-RU" dirty="0"/>
            <a:t>Дублирование и отсутствие интеграции информационных систем </a:t>
          </a:r>
        </a:p>
      </dgm:t>
    </dgm:pt>
    <dgm:pt modelId="{82A01471-E505-4929-83AE-6001B6B67772}" type="parTrans" cxnId="{764BA8F5-56A1-4514-98BB-8095734D9255}">
      <dgm:prSet/>
      <dgm:spPr/>
      <dgm:t>
        <a:bodyPr/>
        <a:lstStyle/>
        <a:p>
          <a:endParaRPr lang="ru-RU"/>
        </a:p>
      </dgm:t>
    </dgm:pt>
    <dgm:pt modelId="{69D910E2-48B4-4F92-A06C-98D20C4A61E9}" type="sibTrans" cxnId="{764BA8F5-56A1-4514-98BB-8095734D9255}">
      <dgm:prSet/>
      <dgm:spPr/>
      <dgm:t>
        <a:bodyPr/>
        <a:lstStyle/>
        <a:p>
          <a:endParaRPr lang="ru-RU"/>
        </a:p>
      </dgm:t>
    </dgm:pt>
    <dgm:pt modelId="{3E6D3974-8C97-4715-8EB6-B41B5962BE54}" type="pres">
      <dgm:prSet presAssocID="{D80650FE-1D3E-4939-BB65-627C3626BCCA}" presName="diagram" presStyleCnt="0">
        <dgm:presLayoutVars>
          <dgm:dir/>
          <dgm:resizeHandles val="exact"/>
        </dgm:presLayoutVars>
      </dgm:prSet>
      <dgm:spPr/>
    </dgm:pt>
    <dgm:pt modelId="{A182AC70-8BD5-4F78-AA88-F0EE4A6655A1}" type="pres">
      <dgm:prSet presAssocID="{5945DF57-A3AA-4F7E-B6FB-1D3D3708034E}" presName="node" presStyleLbl="node1" presStyleIdx="0" presStyleCnt="6">
        <dgm:presLayoutVars>
          <dgm:bulletEnabled val="1"/>
        </dgm:presLayoutVars>
      </dgm:prSet>
      <dgm:spPr/>
    </dgm:pt>
    <dgm:pt modelId="{EDE98C34-7CCC-412F-A718-4AAC75F9AC35}" type="pres">
      <dgm:prSet presAssocID="{0DDF4B5E-4AF3-4ECE-9898-04F0A6949EBC}" presName="sibTrans" presStyleCnt="0"/>
      <dgm:spPr/>
    </dgm:pt>
    <dgm:pt modelId="{FB071589-518A-4736-9871-4B1D04C338AC}" type="pres">
      <dgm:prSet presAssocID="{88F4189C-42C2-4701-A490-ABED675040F2}" presName="node" presStyleLbl="node1" presStyleIdx="1" presStyleCnt="6">
        <dgm:presLayoutVars>
          <dgm:bulletEnabled val="1"/>
        </dgm:presLayoutVars>
      </dgm:prSet>
      <dgm:spPr/>
    </dgm:pt>
    <dgm:pt modelId="{916F9CB0-9367-4E13-B3D4-383D62C516DC}" type="pres">
      <dgm:prSet presAssocID="{C67688E9-A5DD-485F-AC51-6AAC53916F57}" presName="sibTrans" presStyleCnt="0"/>
      <dgm:spPr/>
    </dgm:pt>
    <dgm:pt modelId="{1BA86FF7-7F9B-4BBB-84C3-084386C30850}" type="pres">
      <dgm:prSet presAssocID="{EA248AE8-E72E-49BF-9C8D-7931FAE1DB47}" presName="node" presStyleLbl="node1" presStyleIdx="2" presStyleCnt="6">
        <dgm:presLayoutVars>
          <dgm:bulletEnabled val="1"/>
        </dgm:presLayoutVars>
      </dgm:prSet>
      <dgm:spPr/>
    </dgm:pt>
    <dgm:pt modelId="{DAE15F82-363C-4C0A-A928-0C87B02E2A2A}" type="pres">
      <dgm:prSet presAssocID="{D1E1A7AF-B57F-42BD-855A-0D790EC6AE8C}" presName="sibTrans" presStyleCnt="0"/>
      <dgm:spPr/>
    </dgm:pt>
    <dgm:pt modelId="{0C8977CC-3A40-4F4E-A3F2-277102377721}" type="pres">
      <dgm:prSet presAssocID="{E185FEBB-587B-46E3-9F6C-9E59A86F2E85}" presName="node" presStyleLbl="node1" presStyleIdx="3" presStyleCnt="6">
        <dgm:presLayoutVars>
          <dgm:bulletEnabled val="1"/>
        </dgm:presLayoutVars>
      </dgm:prSet>
      <dgm:spPr/>
    </dgm:pt>
    <dgm:pt modelId="{53E397DA-DEDF-4DB5-85FB-63CB21F6B566}" type="pres">
      <dgm:prSet presAssocID="{8ADF8316-46D7-4871-A896-BF75B1BDBF28}" presName="sibTrans" presStyleCnt="0"/>
      <dgm:spPr/>
    </dgm:pt>
    <dgm:pt modelId="{70967518-B044-4505-9C99-4015467C040F}" type="pres">
      <dgm:prSet presAssocID="{17C855F2-08B2-4459-B867-3BD189F20404}" presName="node" presStyleLbl="node1" presStyleIdx="4" presStyleCnt="6">
        <dgm:presLayoutVars>
          <dgm:bulletEnabled val="1"/>
        </dgm:presLayoutVars>
      </dgm:prSet>
      <dgm:spPr/>
    </dgm:pt>
    <dgm:pt modelId="{2266FE51-DBA8-4BC3-BD1A-8F489AB14CD8}" type="pres">
      <dgm:prSet presAssocID="{B014A290-F45E-4B6D-B784-8AFC3F3B9359}" presName="sibTrans" presStyleCnt="0"/>
      <dgm:spPr/>
    </dgm:pt>
    <dgm:pt modelId="{AF0A9284-7A9A-4BF2-8187-422DFE74B909}" type="pres">
      <dgm:prSet presAssocID="{D93D6BC6-0F36-4A85-8617-C900729414DA}" presName="node" presStyleLbl="node1" presStyleIdx="5" presStyleCnt="6">
        <dgm:presLayoutVars>
          <dgm:bulletEnabled val="1"/>
        </dgm:presLayoutVars>
      </dgm:prSet>
      <dgm:spPr/>
    </dgm:pt>
  </dgm:ptLst>
  <dgm:cxnLst>
    <dgm:cxn modelId="{C6881F0B-0910-46D2-BB51-0D73CE5A872D}" type="presOf" srcId="{EA248AE8-E72E-49BF-9C8D-7931FAE1DB47}" destId="{1BA86FF7-7F9B-4BBB-84C3-084386C30850}" srcOrd="0" destOrd="0" presId="urn:microsoft.com/office/officeart/2005/8/layout/default"/>
    <dgm:cxn modelId="{2495A627-14DE-4F87-871A-B4E251AA3AE3}" type="presOf" srcId="{E185FEBB-587B-46E3-9F6C-9E59A86F2E85}" destId="{0C8977CC-3A40-4F4E-A3F2-277102377721}" srcOrd="0" destOrd="0" presId="urn:microsoft.com/office/officeart/2005/8/layout/default"/>
    <dgm:cxn modelId="{989D6F4D-A1B0-4C6E-AA9C-8F2440E348DF}" type="presOf" srcId="{17C855F2-08B2-4459-B867-3BD189F20404}" destId="{70967518-B044-4505-9C99-4015467C040F}" srcOrd="0" destOrd="0" presId="urn:microsoft.com/office/officeart/2005/8/layout/default"/>
    <dgm:cxn modelId="{D800E95F-D3CC-4E44-916F-AA6914057138}" srcId="{D80650FE-1D3E-4939-BB65-627C3626BCCA}" destId="{5945DF57-A3AA-4F7E-B6FB-1D3D3708034E}" srcOrd="0" destOrd="0" parTransId="{2771B63F-BE07-4415-8ADA-51A2FDAB91A7}" sibTransId="{0DDF4B5E-4AF3-4ECE-9898-04F0A6949EBC}"/>
    <dgm:cxn modelId="{89484A67-5A11-43E1-B577-D54E41F80563}" type="presOf" srcId="{88F4189C-42C2-4701-A490-ABED675040F2}" destId="{FB071589-518A-4736-9871-4B1D04C338AC}" srcOrd="0" destOrd="0" presId="urn:microsoft.com/office/officeart/2005/8/layout/default"/>
    <dgm:cxn modelId="{0DA9BC76-FD51-44A5-84DF-38DB2E2185EF}" srcId="{D80650FE-1D3E-4939-BB65-627C3626BCCA}" destId="{EA248AE8-E72E-49BF-9C8D-7931FAE1DB47}" srcOrd="2" destOrd="0" parTransId="{B071FB96-E06B-4A42-AF56-563A896C758F}" sibTransId="{D1E1A7AF-B57F-42BD-855A-0D790EC6AE8C}"/>
    <dgm:cxn modelId="{425DD882-443A-452C-9252-AB0A6CBB1127}" srcId="{D80650FE-1D3E-4939-BB65-627C3626BCCA}" destId="{17C855F2-08B2-4459-B867-3BD189F20404}" srcOrd="4" destOrd="0" parTransId="{2847BC6F-7DAC-4845-9A05-C14E752E23EF}" sibTransId="{B014A290-F45E-4B6D-B784-8AFC3F3B9359}"/>
    <dgm:cxn modelId="{DF8734A3-E5C4-4DA4-936B-87638CC31961}" type="presOf" srcId="{5945DF57-A3AA-4F7E-B6FB-1D3D3708034E}" destId="{A182AC70-8BD5-4F78-AA88-F0EE4A6655A1}" srcOrd="0" destOrd="0" presId="urn:microsoft.com/office/officeart/2005/8/layout/default"/>
    <dgm:cxn modelId="{8C9FCBB3-E862-4AEF-89AC-82C6A78625B5}" type="presOf" srcId="{D80650FE-1D3E-4939-BB65-627C3626BCCA}" destId="{3E6D3974-8C97-4715-8EB6-B41B5962BE54}" srcOrd="0" destOrd="0" presId="urn:microsoft.com/office/officeart/2005/8/layout/default"/>
    <dgm:cxn modelId="{5E0E69BC-EB5A-4472-8B7D-280ECDB07458}" srcId="{D80650FE-1D3E-4939-BB65-627C3626BCCA}" destId="{88F4189C-42C2-4701-A490-ABED675040F2}" srcOrd="1" destOrd="0" parTransId="{F53B7E5F-BBFF-4EAE-A4B8-72888D4D0CE1}" sibTransId="{C67688E9-A5DD-485F-AC51-6AAC53916F57}"/>
    <dgm:cxn modelId="{7A329FBD-29D7-4A4D-B31A-58F43A698366}" type="presOf" srcId="{D93D6BC6-0F36-4A85-8617-C900729414DA}" destId="{AF0A9284-7A9A-4BF2-8187-422DFE74B909}" srcOrd="0" destOrd="0" presId="urn:microsoft.com/office/officeart/2005/8/layout/default"/>
    <dgm:cxn modelId="{FB32E2F0-E2B3-44A3-A752-55D988089735}" srcId="{D80650FE-1D3E-4939-BB65-627C3626BCCA}" destId="{E185FEBB-587B-46E3-9F6C-9E59A86F2E85}" srcOrd="3" destOrd="0" parTransId="{6DAEA4C7-EBC3-48D0-8DB4-F7F85FC78AE3}" sibTransId="{8ADF8316-46D7-4871-A896-BF75B1BDBF28}"/>
    <dgm:cxn modelId="{764BA8F5-56A1-4514-98BB-8095734D9255}" srcId="{D80650FE-1D3E-4939-BB65-627C3626BCCA}" destId="{D93D6BC6-0F36-4A85-8617-C900729414DA}" srcOrd="5" destOrd="0" parTransId="{82A01471-E505-4929-83AE-6001B6B67772}" sibTransId="{69D910E2-48B4-4F92-A06C-98D20C4A61E9}"/>
    <dgm:cxn modelId="{AE49F7DB-5954-422B-AE48-D0C70E51E24A}" type="presParOf" srcId="{3E6D3974-8C97-4715-8EB6-B41B5962BE54}" destId="{A182AC70-8BD5-4F78-AA88-F0EE4A6655A1}" srcOrd="0" destOrd="0" presId="urn:microsoft.com/office/officeart/2005/8/layout/default"/>
    <dgm:cxn modelId="{9528EC70-D136-4707-93B2-1C3E31F361C3}" type="presParOf" srcId="{3E6D3974-8C97-4715-8EB6-B41B5962BE54}" destId="{EDE98C34-7CCC-412F-A718-4AAC75F9AC35}" srcOrd="1" destOrd="0" presId="urn:microsoft.com/office/officeart/2005/8/layout/default"/>
    <dgm:cxn modelId="{1D01AF1C-2B44-4E0B-87C7-4E0F664AC4CD}" type="presParOf" srcId="{3E6D3974-8C97-4715-8EB6-B41B5962BE54}" destId="{FB071589-518A-4736-9871-4B1D04C338AC}" srcOrd="2" destOrd="0" presId="urn:microsoft.com/office/officeart/2005/8/layout/default"/>
    <dgm:cxn modelId="{2701C3E8-1D39-43FA-B50C-C77075933687}" type="presParOf" srcId="{3E6D3974-8C97-4715-8EB6-B41B5962BE54}" destId="{916F9CB0-9367-4E13-B3D4-383D62C516DC}" srcOrd="3" destOrd="0" presId="urn:microsoft.com/office/officeart/2005/8/layout/default"/>
    <dgm:cxn modelId="{D6F55F02-ABE1-4A06-9062-85AB001FA61C}" type="presParOf" srcId="{3E6D3974-8C97-4715-8EB6-B41B5962BE54}" destId="{1BA86FF7-7F9B-4BBB-84C3-084386C30850}" srcOrd="4" destOrd="0" presId="urn:microsoft.com/office/officeart/2005/8/layout/default"/>
    <dgm:cxn modelId="{80E7A180-51BE-4567-B988-59E25563191C}" type="presParOf" srcId="{3E6D3974-8C97-4715-8EB6-B41B5962BE54}" destId="{DAE15F82-363C-4C0A-A928-0C87B02E2A2A}" srcOrd="5" destOrd="0" presId="urn:microsoft.com/office/officeart/2005/8/layout/default"/>
    <dgm:cxn modelId="{495BC9DF-3237-4867-BE79-71A3278967F2}" type="presParOf" srcId="{3E6D3974-8C97-4715-8EB6-B41B5962BE54}" destId="{0C8977CC-3A40-4F4E-A3F2-277102377721}" srcOrd="6" destOrd="0" presId="urn:microsoft.com/office/officeart/2005/8/layout/default"/>
    <dgm:cxn modelId="{179728E9-2ED8-41A9-8263-B79C64E16B90}" type="presParOf" srcId="{3E6D3974-8C97-4715-8EB6-B41B5962BE54}" destId="{53E397DA-DEDF-4DB5-85FB-63CB21F6B566}" srcOrd="7" destOrd="0" presId="urn:microsoft.com/office/officeart/2005/8/layout/default"/>
    <dgm:cxn modelId="{E9511796-6415-4C94-BBBA-2F1305A5858A}" type="presParOf" srcId="{3E6D3974-8C97-4715-8EB6-B41B5962BE54}" destId="{70967518-B044-4505-9C99-4015467C040F}" srcOrd="8" destOrd="0" presId="urn:microsoft.com/office/officeart/2005/8/layout/default"/>
    <dgm:cxn modelId="{E70563F7-4BD7-4874-AEB6-566E8018BF2C}" type="presParOf" srcId="{3E6D3974-8C97-4715-8EB6-B41B5962BE54}" destId="{2266FE51-DBA8-4BC3-BD1A-8F489AB14CD8}" srcOrd="9" destOrd="0" presId="urn:microsoft.com/office/officeart/2005/8/layout/default"/>
    <dgm:cxn modelId="{D38675E5-9701-4158-B06C-D0ABCC12248D}" type="presParOf" srcId="{3E6D3974-8C97-4715-8EB6-B41B5962BE54}" destId="{AF0A9284-7A9A-4BF2-8187-422DFE74B909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6D1C67F-C688-4939-9F7A-3FDAAF3B230B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4EB107AC-63BC-4E39-9318-A9935080FEF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ольшинство документов не требуется ни федеральными, ни региональными НПА</a:t>
          </a:r>
        </a:p>
      </dgm:t>
    </dgm:pt>
    <dgm:pt modelId="{4A0908FB-6E5B-49C6-8CA4-101A09632BF2}" type="parTrans" cxnId="{3B33E0FE-5A94-4E27-A6DB-2F64303693F4}">
      <dgm:prSet/>
      <dgm:spPr/>
      <dgm:t>
        <a:bodyPr/>
        <a:lstStyle/>
        <a:p>
          <a:endParaRPr lang="ru-RU"/>
        </a:p>
      </dgm:t>
    </dgm:pt>
    <dgm:pt modelId="{CE0AB831-4F9F-49D3-B7F6-74E0BA8B5B3C}" type="sibTrans" cxnId="{3B33E0FE-5A94-4E27-A6DB-2F64303693F4}">
      <dgm:prSet/>
      <dgm:spPr/>
      <dgm:t>
        <a:bodyPr/>
        <a:lstStyle/>
        <a:p>
          <a:endParaRPr lang="ru-RU"/>
        </a:p>
      </dgm:t>
    </dgm:pt>
    <dgm:pt modelId="{1AE62BDC-7442-4CFC-BE8E-E2598565BB84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обрнадзор не требует никаких отчетов </a:t>
          </a:r>
        </a:p>
      </dgm:t>
    </dgm:pt>
    <dgm:pt modelId="{396FF739-2E04-4087-895C-1216F785483B}" type="parTrans" cxnId="{52EDC951-A9C9-4529-B628-6D4E0147090D}">
      <dgm:prSet/>
      <dgm:spPr/>
      <dgm:t>
        <a:bodyPr/>
        <a:lstStyle/>
        <a:p>
          <a:endParaRPr lang="ru-RU"/>
        </a:p>
      </dgm:t>
    </dgm:pt>
    <dgm:pt modelId="{836FBB05-9214-41F5-A003-452EC93FF23D}" type="sibTrans" cxnId="{52EDC951-A9C9-4529-B628-6D4E0147090D}">
      <dgm:prSet/>
      <dgm:spPr/>
      <dgm:t>
        <a:bodyPr/>
        <a:lstStyle/>
        <a:p>
          <a:endParaRPr lang="ru-RU"/>
        </a:p>
      </dgm:t>
    </dgm:pt>
    <dgm:pt modelId="{81B761E3-4906-46D2-9791-0E9C06BDE7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ольшинство документов никак не влияют на качество образования </a:t>
          </a:r>
        </a:p>
      </dgm:t>
    </dgm:pt>
    <dgm:pt modelId="{AED8AA02-0701-4AE7-A383-96DCD50BAEE0}" type="parTrans" cxnId="{2C84BD63-75FE-4AE9-BA90-1A96B57608C0}">
      <dgm:prSet/>
      <dgm:spPr/>
      <dgm:t>
        <a:bodyPr/>
        <a:lstStyle/>
        <a:p>
          <a:endParaRPr lang="ru-RU"/>
        </a:p>
      </dgm:t>
    </dgm:pt>
    <dgm:pt modelId="{787CF929-A0F4-451E-A149-7155E360C8B2}" type="sibTrans" cxnId="{2C84BD63-75FE-4AE9-BA90-1A96B57608C0}">
      <dgm:prSet/>
      <dgm:spPr/>
      <dgm:t>
        <a:bodyPr/>
        <a:lstStyle/>
        <a:p>
          <a:endParaRPr lang="ru-RU"/>
        </a:p>
      </dgm:t>
    </dgm:pt>
    <dgm:pt modelId="{31482F2E-0436-4B6F-810F-B63CF6A8EB84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е министерства образования не владеют  информацией об отчетах, которые готовит школа для разных ведомств</a:t>
          </a:r>
        </a:p>
      </dgm:t>
    </dgm:pt>
    <dgm:pt modelId="{C02715B9-A434-42AD-AFA4-31DD68603D27}" type="parTrans" cxnId="{F1353C5C-29D9-41B3-8405-EDECD9039FDB}">
      <dgm:prSet/>
      <dgm:spPr/>
      <dgm:t>
        <a:bodyPr/>
        <a:lstStyle/>
        <a:p>
          <a:endParaRPr lang="ru-RU"/>
        </a:p>
      </dgm:t>
    </dgm:pt>
    <dgm:pt modelId="{223291AD-29B6-4004-9C52-46EF1AE72B2B}" type="sibTrans" cxnId="{F1353C5C-29D9-41B3-8405-EDECD9039FDB}">
      <dgm:prSet/>
      <dgm:spPr/>
      <dgm:t>
        <a:bodyPr/>
        <a:lstStyle/>
        <a:p>
          <a:endParaRPr lang="ru-RU"/>
        </a:p>
      </dgm:t>
    </dgm:pt>
    <dgm:pt modelId="{C0EE53C8-EB54-4CAC-B523-33A2EA2B853D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злишнюю бюрократическую загруженность учителя порождают Региональные и внутришкольные системы оценки качества образования и мониторинги</a:t>
          </a:r>
        </a:p>
      </dgm:t>
    </dgm:pt>
    <dgm:pt modelId="{ACC3F179-F4D2-44B0-B4F3-6D9E0E199011}" type="parTrans" cxnId="{917FCC26-147E-4355-BE20-885B76A69338}">
      <dgm:prSet/>
      <dgm:spPr/>
      <dgm:t>
        <a:bodyPr/>
        <a:lstStyle/>
        <a:p>
          <a:endParaRPr lang="ru-RU"/>
        </a:p>
      </dgm:t>
    </dgm:pt>
    <dgm:pt modelId="{E38CCBB9-8122-45B4-9668-8F432F58E726}" type="sibTrans" cxnId="{917FCC26-147E-4355-BE20-885B76A69338}">
      <dgm:prSet/>
      <dgm:spPr/>
      <dgm:t>
        <a:bodyPr/>
        <a:lstStyle/>
        <a:p>
          <a:endParaRPr lang="ru-RU"/>
        </a:p>
      </dgm:t>
    </dgm:pt>
    <dgm:pt modelId="{659DAB4B-54E4-40C6-9785-6C88A247E4FE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Основной причиной запросов является отсутствие внутри- и межведомственная интеграции информационных систем</a:t>
          </a:r>
        </a:p>
      </dgm:t>
    </dgm:pt>
    <dgm:pt modelId="{09E7156D-9145-4BAC-A4FC-95DA92274634}" type="parTrans" cxnId="{CDF855FC-7AB7-4C2C-8CA8-CD6C7429721D}">
      <dgm:prSet/>
      <dgm:spPr/>
      <dgm:t>
        <a:bodyPr/>
        <a:lstStyle/>
        <a:p>
          <a:endParaRPr lang="ru-RU"/>
        </a:p>
      </dgm:t>
    </dgm:pt>
    <dgm:pt modelId="{27E1EB75-8FD3-4126-8449-09B76C549590}" type="sibTrans" cxnId="{CDF855FC-7AB7-4C2C-8CA8-CD6C7429721D}">
      <dgm:prSet/>
      <dgm:spPr/>
      <dgm:t>
        <a:bodyPr/>
        <a:lstStyle/>
        <a:p>
          <a:endParaRPr lang="ru-RU"/>
        </a:p>
      </dgm:t>
    </dgm:pt>
    <dgm:pt modelId="{534DE601-7E7E-420B-A21D-BA4C80173A9C}" type="pres">
      <dgm:prSet presAssocID="{D6D1C67F-C688-4939-9F7A-3FDAAF3B230B}" presName="diagram" presStyleCnt="0">
        <dgm:presLayoutVars>
          <dgm:dir/>
          <dgm:resizeHandles val="exact"/>
        </dgm:presLayoutVars>
      </dgm:prSet>
      <dgm:spPr/>
    </dgm:pt>
    <dgm:pt modelId="{4FC65F02-514C-4042-8515-D78F1B59D8FA}" type="pres">
      <dgm:prSet presAssocID="{4EB107AC-63BC-4E39-9318-A9935080FEF7}" presName="node" presStyleLbl="node1" presStyleIdx="0" presStyleCnt="6" custLinFactNeighborX="536" custLinFactNeighborY="447">
        <dgm:presLayoutVars>
          <dgm:bulletEnabled val="1"/>
        </dgm:presLayoutVars>
      </dgm:prSet>
      <dgm:spPr/>
    </dgm:pt>
    <dgm:pt modelId="{5CB11AAE-B5A5-4AA8-9A81-3348C8E07153}" type="pres">
      <dgm:prSet presAssocID="{CE0AB831-4F9F-49D3-B7F6-74E0BA8B5B3C}" presName="sibTrans" presStyleCnt="0"/>
      <dgm:spPr/>
    </dgm:pt>
    <dgm:pt modelId="{C36760A6-51FB-4ABA-BEE1-F4ECAE03D78F}" type="pres">
      <dgm:prSet presAssocID="{1AE62BDC-7442-4CFC-BE8E-E2598565BB84}" presName="node" presStyleLbl="node1" presStyleIdx="1" presStyleCnt="6" custLinFactNeighborX="268" custLinFactNeighborY="894">
        <dgm:presLayoutVars>
          <dgm:bulletEnabled val="1"/>
        </dgm:presLayoutVars>
      </dgm:prSet>
      <dgm:spPr/>
    </dgm:pt>
    <dgm:pt modelId="{EAA611D1-1066-4BFF-8F15-8C89AC974419}" type="pres">
      <dgm:prSet presAssocID="{836FBB05-9214-41F5-A003-452EC93FF23D}" presName="sibTrans" presStyleCnt="0"/>
      <dgm:spPr/>
    </dgm:pt>
    <dgm:pt modelId="{DB71A68C-85B7-44F9-8BA7-57C03B5F13F6}" type="pres">
      <dgm:prSet presAssocID="{81B761E3-4906-46D2-9791-0E9C06BDE739}" presName="node" presStyleLbl="node1" presStyleIdx="2" presStyleCnt="6">
        <dgm:presLayoutVars>
          <dgm:bulletEnabled val="1"/>
        </dgm:presLayoutVars>
      </dgm:prSet>
      <dgm:spPr/>
    </dgm:pt>
    <dgm:pt modelId="{D8E56333-44B0-435E-8EB8-352D3A077D63}" type="pres">
      <dgm:prSet presAssocID="{787CF929-A0F4-451E-A149-7155E360C8B2}" presName="sibTrans" presStyleCnt="0"/>
      <dgm:spPr/>
    </dgm:pt>
    <dgm:pt modelId="{DEB48BFF-5BEE-4E49-9A41-DB679DBA044A}" type="pres">
      <dgm:prSet presAssocID="{31482F2E-0436-4B6F-810F-B63CF6A8EB84}" presName="node" presStyleLbl="node1" presStyleIdx="3" presStyleCnt="6">
        <dgm:presLayoutVars>
          <dgm:bulletEnabled val="1"/>
        </dgm:presLayoutVars>
      </dgm:prSet>
      <dgm:spPr/>
    </dgm:pt>
    <dgm:pt modelId="{35BA669D-35ED-46A6-8DE5-C9EB17B52B3A}" type="pres">
      <dgm:prSet presAssocID="{223291AD-29B6-4004-9C52-46EF1AE72B2B}" presName="sibTrans" presStyleCnt="0"/>
      <dgm:spPr/>
    </dgm:pt>
    <dgm:pt modelId="{134D8485-4931-40DB-89CB-63F60C79B406}" type="pres">
      <dgm:prSet presAssocID="{C0EE53C8-EB54-4CAC-B523-33A2EA2B853D}" presName="node" presStyleLbl="node1" presStyleIdx="4" presStyleCnt="6">
        <dgm:presLayoutVars>
          <dgm:bulletEnabled val="1"/>
        </dgm:presLayoutVars>
      </dgm:prSet>
      <dgm:spPr/>
    </dgm:pt>
    <dgm:pt modelId="{A09E20D4-95D2-4B0B-9769-0E15ECA8BB61}" type="pres">
      <dgm:prSet presAssocID="{E38CCBB9-8122-45B4-9668-8F432F58E726}" presName="sibTrans" presStyleCnt="0"/>
      <dgm:spPr/>
    </dgm:pt>
    <dgm:pt modelId="{8D059ABE-951E-4C2E-B619-5592840F17B5}" type="pres">
      <dgm:prSet presAssocID="{659DAB4B-54E4-40C6-9785-6C88A247E4FE}" presName="node" presStyleLbl="node1" presStyleIdx="5" presStyleCnt="6" custLinFactNeighborX="13">
        <dgm:presLayoutVars>
          <dgm:bulletEnabled val="1"/>
        </dgm:presLayoutVars>
      </dgm:prSet>
      <dgm:spPr/>
    </dgm:pt>
  </dgm:ptLst>
  <dgm:cxnLst>
    <dgm:cxn modelId="{51B23D0D-B8A7-479F-8B52-7F842DCFBB06}" type="presOf" srcId="{81B761E3-4906-46D2-9791-0E9C06BDE739}" destId="{DB71A68C-85B7-44F9-8BA7-57C03B5F13F6}" srcOrd="0" destOrd="0" presId="urn:microsoft.com/office/officeart/2005/8/layout/default"/>
    <dgm:cxn modelId="{59586126-96FA-4835-88DC-FD720DAA36A4}" type="presOf" srcId="{659DAB4B-54E4-40C6-9785-6C88A247E4FE}" destId="{8D059ABE-951E-4C2E-B619-5592840F17B5}" srcOrd="0" destOrd="0" presId="urn:microsoft.com/office/officeart/2005/8/layout/default"/>
    <dgm:cxn modelId="{917FCC26-147E-4355-BE20-885B76A69338}" srcId="{D6D1C67F-C688-4939-9F7A-3FDAAF3B230B}" destId="{C0EE53C8-EB54-4CAC-B523-33A2EA2B853D}" srcOrd="4" destOrd="0" parTransId="{ACC3F179-F4D2-44B0-B4F3-6D9E0E199011}" sibTransId="{E38CCBB9-8122-45B4-9668-8F432F58E726}"/>
    <dgm:cxn modelId="{47BC6E34-ECB6-46F0-8424-1447CEA67CCE}" type="presOf" srcId="{D6D1C67F-C688-4939-9F7A-3FDAAF3B230B}" destId="{534DE601-7E7E-420B-A21D-BA4C80173A9C}" srcOrd="0" destOrd="0" presId="urn:microsoft.com/office/officeart/2005/8/layout/default"/>
    <dgm:cxn modelId="{4788C651-7167-4AE3-932C-18A816CDB579}" type="presOf" srcId="{C0EE53C8-EB54-4CAC-B523-33A2EA2B853D}" destId="{134D8485-4931-40DB-89CB-63F60C79B406}" srcOrd="0" destOrd="0" presId="urn:microsoft.com/office/officeart/2005/8/layout/default"/>
    <dgm:cxn modelId="{52EDC951-A9C9-4529-B628-6D4E0147090D}" srcId="{D6D1C67F-C688-4939-9F7A-3FDAAF3B230B}" destId="{1AE62BDC-7442-4CFC-BE8E-E2598565BB84}" srcOrd="1" destOrd="0" parTransId="{396FF739-2E04-4087-895C-1216F785483B}" sibTransId="{836FBB05-9214-41F5-A003-452EC93FF23D}"/>
    <dgm:cxn modelId="{F1353C5C-29D9-41B3-8405-EDECD9039FDB}" srcId="{D6D1C67F-C688-4939-9F7A-3FDAAF3B230B}" destId="{31482F2E-0436-4B6F-810F-B63CF6A8EB84}" srcOrd="3" destOrd="0" parTransId="{C02715B9-A434-42AD-AFA4-31DD68603D27}" sibTransId="{223291AD-29B6-4004-9C52-46EF1AE72B2B}"/>
    <dgm:cxn modelId="{2C84BD63-75FE-4AE9-BA90-1A96B57608C0}" srcId="{D6D1C67F-C688-4939-9F7A-3FDAAF3B230B}" destId="{81B761E3-4906-46D2-9791-0E9C06BDE739}" srcOrd="2" destOrd="0" parTransId="{AED8AA02-0701-4AE7-A383-96DCD50BAEE0}" sibTransId="{787CF929-A0F4-451E-A149-7155E360C8B2}"/>
    <dgm:cxn modelId="{83FB8A8F-969E-47EF-A6FD-003037ED1919}" type="presOf" srcId="{1AE62BDC-7442-4CFC-BE8E-E2598565BB84}" destId="{C36760A6-51FB-4ABA-BEE1-F4ECAE03D78F}" srcOrd="0" destOrd="0" presId="urn:microsoft.com/office/officeart/2005/8/layout/default"/>
    <dgm:cxn modelId="{F0AC1598-4BF5-4DDA-9DF0-FBEF310E69FA}" type="presOf" srcId="{31482F2E-0436-4B6F-810F-B63CF6A8EB84}" destId="{DEB48BFF-5BEE-4E49-9A41-DB679DBA044A}" srcOrd="0" destOrd="0" presId="urn:microsoft.com/office/officeart/2005/8/layout/default"/>
    <dgm:cxn modelId="{C7266BEF-C463-47C9-AAFF-6085B0862633}" type="presOf" srcId="{4EB107AC-63BC-4E39-9318-A9935080FEF7}" destId="{4FC65F02-514C-4042-8515-D78F1B59D8FA}" srcOrd="0" destOrd="0" presId="urn:microsoft.com/office/officeart/2005/8/layout/default"/>
    <dgm:cxn modelId="{CDF855FC-7AB7-4C2C-8CA8-CD6C7429721D}" srcId="{D6D1C67F-C688-4939-9F7A-3FDAAF3B230B}" destId="{659DAB4B-54E4-40C6-9785-6C88A247E4FE}" srcOrd="5" destOrd="0" parTransId="{09E7156D-9145-4BAC-A4FC-95DA92274634}" sibTransId="{27E1EB75-8FD3-4126-8449-09B76C549590}"/>
    <dgm:cxn modelId="{3B33E0FE-5A94-4E27-A6DB-2F64303693F4}" srcId="{D6D1C67F-C688-4939-9F7A-3FDAAF3B230B}" destId="{4EB107AC-63BC-4E39-9318-A9935080FEF7}" srcOrd="0" destOrd="0" parTransId="{4A0908FB-6E5B-49C6-8CA4-101A09632BF2}" sibTransId="{CE0AB831-4F9F-49D3-B7F6-74E0BA8B5B3C}"/>
    <dgm:cxn modelId="{8DB726D2-00CA-46A1-9CE8-59687724E355}" type="presParOf" srcId="{534DE601-7E7E-420B-A21D-BA4C80173A9C}" destId="{4FC65F02-514C-4042-8515-D78F1B59D8FA}" srcOrd="0" destOrd="0" presId="urn:microsoft.com/office/officeart/2005/8/layout/default"/>
    <dgm:cxn modelId="{0212DBD6-0B2B-40F0-97A1-ABDAAB7E3997}" type="presParOf" srcId="{534DE601-7E7E-420B-A21D-BA4C80173A9C}" destId="{5CB11AAE-B5A5-4AA8-9A81-3348C8E07153}" srcOrd="1" destOrd="0" presId="urn:microsoft.com/office/officeart/2005/8/layout/default"/>
    <dgm:cxn modelId="{C5AEC7CC-6E08-4254-AF78-4300E79C716F}" type="presParOf" srcId="{534DE601-7E7E-420B-A21D-BA4C80173A9C}" destId="{C36760A6-51FB-4ABA-BEE1-F4ECAE03D78F}" srcOrd="2" destOrd="0" presId="urn:microsoft.com/office/officeart/2005/8/layout/default"/>
    <dgm:cxn modelId="{70F65FDA-740C-44CD-8548-23121FECFB2A}" type="presParOf" srcId="{534DE601-7E7E-420B-A21D-BA4C80173A9C}" destId="{EAA611D1-1066-4BFF-8F15-8C89AC974419}" srcOrd="3" destOrd="0" presId="urn:microsoft.com/office/officeart/2005/8/layout/default"/>
    <dgm:cxn modelId="{12FEB804-3952-4040-8044-0CA39704078B}" type="presParOf" srcId="{534DE601-7E7E-420B-A21D-BA4C80173A9C}" destId="{DB71A68C-85B7-44F9-8BA7-57C03B5F13F6}" srcOrd="4" destOrd="0" presId="urn:microsoft.com/office/officeart/2005/8/layout/default"/>
    <dgm:cxn modelId="{F4B5BC7E-9F85-4CFE-B2E9-6592201BC48C}" type="presParOf" srcId="{534DE601-7E7E-420B-A21D-BA4C80173A9C}" destId="{D8E56333-44B0-435E-8EB8-352D3A077D63}" srcOrd="5" destOrd="0" presId="urn:microsoft.com/office/officeart/2005/8/layout/default"/>
    <dgm:cxn modelId="{14F1792D-5786-4AE2-BB23-02CCF2A42426}" type="presParOf" srcId="{534DE601-7E7E-420B-A21D-BA4C80173A9C}" destId="{DEB48BFF-5BEE-4E49-9A41-DB679DBA044A}" srcOrd="6" destOrd="0" presId="urn:microsoft.com/office/officeart/2005/8/layout/default"/>
    <dgm:cxn modelId="{C33B9145-01DC-4627-A816-FAC2185020A1}" type="presParOf" srcId="{534DE601-7E7E-420B-A21D-BA4C80173A9C}" destId="{35BA669D-35ED-46A6-8DE5-C9EB17B52B3A}" srcOrd="7" destOrd="0" presId="urn:microsoft.com/office/officeart/2005/8/layout/default"/>
    <dgm:cxn modelId="{BB1F5B64-341F-4DC3-B241-0695CE9F4884}" type="presParOf" srcId="{534DE601-7E7E-420B-A21D-BA4C80173A9C}" destId="{134D8485-4931-40DB-89CB-63F60C79B406}" srcOrd="8" destOrd="0" presId="urn:microsoft.com/office/officeart/2005/8/layout/default"/>
    <dgm:cxn modelId="{C910C06D-8C51-49F5-AA47-3A70529CB311}" type="presParOf" srcId="{534DE601-7E7E-420B-A21D-BA4C80173A9C}" destId="{A09E20D4-95D2-4B0B-9769-0E15ECA8BB61}" srcOrd="9" destOrd="0" presId="urn:microsoft.com/office/officeart/2005/8/layout/default"/>
    <dgm:cxn modelId="{EE857310-0F38-4458-8B36-A5D9A03F8ED9}" type="presParOf" srcId="{534DE601-7E7E-420B-A21D-BA4C80173A9C}" destId="{8D059ABE-951E-4C2E-B619-5592840F17B5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3BDFB1C-1D3B-4763-8BDF-9A0C6414CE46}" type="doc">
      <dgm:prSet loTypeId="urn:microsoft.com/office/officeart/2005/8/layout/lProcess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2F59BDF0-F8A1-4C03-811E-34D33DA058BB}">
      <dgm:prSet phldrT="[Текст]"/>
      <dgm:spPr/>
      <dgm:t>
        <a:bodyPr/>
        <a:lstStyle/>
        <a:p>
          <a:r>
            <a:rPr lang="ru-RU" dirty="0"/>
            <a:t>Федеральный уровень </a:t>
          </a:r>
        </a:p>
      </dgm:t>
    </dgm:pt>
    <dgm:pt modelId="{1ABE6DA7-7DF1-4359-AE94-45A1CAC01F86}" type="parTrans" cxnId="{93D782AB-A7D5-4C0F-A5D3-C4964F11034A}">
      <dgm:prSet/>
      <dgm:spPr/>
      <dgm:t>
        <a:bodyPr/>
        <a:lstStyle/>
        <a:p>
          <a:endParaRPr lang="ru-RU"/>
        </a:p>
      </dgm:t>
    </dgm:pt>
    <dgm:pt modelId="{8F9DA785-26D0-4AAE-9BB9-8A7879C14407}" type="sibTrans" cxnId="{93D782AB-A7D5-4C0F-A5D3-C4964F11034A}">
      <dgm:prSet/>
      <dgm:spPr/>
      <dgm:t>
        <a:bodyPr/>
        <a:lstStyle/>
        <a:p>
          <a:endParaRPr lang="ru-RU"/>
        </a:p>
      </dgm:t>
    </dgm:pt>
    <dgm:pt modelId="{097B274B-9946-40E3-9770-B27F28E00D41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 Сбор большого количества данных (мониторинги и ИС)</a:t>
          </a:r>
        </a:p>
      </dgm:t>
    </dgm:pt>
    <dgm:pt modelId="{5EBC44C6-4DF5-4901-BBE1-0E25B3DDCFCE}" type="parTrans" cxnId="{5D6CCABC-4CEF-498A-A9C7-E8C9DE1A20A5}">
      <dgm:prSet/>
      <dgm:spPr/>
      <dgm:t>
        <a:bodyPr/>
        <a:lstStyle/>
        <a:p>
          <a:endParaRPr lang="ru-RU"/>
        </a:p>
      </dgm:t>
    </dgm:pt>
    <dgm:pt modelId="{BBACE343-E955-4A66-991A-81B858D71AD9}" type="sibTrans" cxnId="{5D6CCABC-4CEF-498A-A9C7-E8C9DE1A20A5}">
      <dgm:prSet/>
      <dgm:spPr/>
      <dgm:t>
        <a:bodyPr/>
        <a:lstStyle/>
        <a:p>
          <a:endParaRPr lang="ru-RU"/>
        </a:p>
      </dgm:t>
    </dgm:pt>
    <dgm:pt modelId="{3B259DC4-B5DB-46EB-8866-5E30C96611AA}">
      <dgm:prSet phldrT="[Текст]" custT="1"/>
      <dgm:spPr/>
      <dgm:t>
        <a:bodyPr/>
        <a:lstStyle/>
        <a:p>
          <a:r>
            <a:rPr lang="ru-RU" sz="3200" b="1" dirty="0">
              <a:solidFill>
                <a:schemeClr val="tx1"/>
              </a:solidFill>
            </a:rPr>
            <a:t>Запросы </a:t>
          </a:r>
        </a:p>
      </dgm:t>
    </dgm:pt>
    <dgm:pt modelId="{CD542C30-9749-4934-8A63-B89991FFAA96}" type="parTrans" cxnId="{FD192259-49B1-406D-890A-D177808EBA1B}">
      <dgm:prSet/>
      <dgm:spPr/>
      <dgm:t>
        <a:bodyPr/>
        <a:lstStyle/>
        <a:p>
          <a:endParaRPr lang="ru-RU"/>
        </a:p>
      </dgm:t>
    </dgm:pt>
    <dgm:pt modelId="{95157ABF-801B-4653-A2B9-EA95002467A0}" type="sibTrans" cxnId="{FD192259-49B1-406D-890A-D177808EBA1B}">
      <dgm:prSet/>
      <dgm:spPr/>
      <dgm:t>
        <a:bodyPr/>
        <a:lstStyle/>
        <a:p>
          <a:endParaRPr lang="ru-RU"/>
        </a:p>
      </dgm:t>
    </dgm:pt>
    <dgm:pt modelId="{A044767E-D98D-4A11-AF28-85FF3B75317C}">
      <dgm:prSet phldrT="[Текст]"/>
      <dgm:spPr/>
      <dgm:t>
        <a:bodyPr/>
        <a:lstStyle/>
        <a:p>
          <a:r>
            <a:rPr lang="ru-RU" dirty="0"/>
            <a:t>Региональный уровень </a:t>
          </a:r>
        </a:p>
      </dgm:t>
    </dgm:pt>
    <dgm:pt modelId="{918BE1E2-7C21-4A88-99E6-71B9E2086807}" type="parTrans" cxnId="{0B5DB2A2-78A7-47B5-850E-51A0FA0ED6D5}">
      <dgm:prSet/>
      <dgm:spPr/>
      <dgm:t>
        <a:bodyPr/>
        <a:lstStyle/>
        <a:p>
          <a:endParaRPr lang="ru-RU"/>
        </a:p>
      </dgm:t>
    </dgm:pt>
    <dgm:pt modelId="{61C4B9C6-2465-4B99-8B0D-E90DF9A0A89E}" type="sibTrans" cxnId="{0B5DB2A2-78A7-47B5-850E-51A0FA0ED6D5}">
      <dgm:prSet/>
      <dgm:spPr/>
      <dgm:t>
        <a:bodyPr/>
        <a:lstStyle/>
        <a:p>
          <a:endParaRPr lang="ru-RU"/>
        </a:p>
      </dgm:t>
    </dgm:pt>
    <dgm:pt modelId="{89C3F3F1-F04D-4CA0-AA23-73B65B058F97}">
      <dgm:prSet phldrT="[Текст]"/>
      <dgm:spPr/>
      <dgm:t>
        <a:bodyPr/>
        <a:lstStyle/>
        <a:p>
          <a:r>
            <a:rPr lang="ru-RU" dirty="0"/>
            <a:t>Локальный уровень</a:t>
          </a:r>
          <a:r>
            <a:rPr lang="ru-RU" baseline="0" dirty="0"/>
            <a:t> </a:t>
          </a:r>
          <a:endParaRPr lang="ru-RU" dirty="0"/>
        </a:p>
      </dgm:t>
    </dgm:pt>
    <dgm:pt modelId="{93C2F367-BF94-4B49-84C3-90723A2559A4}" type="parTrans" cxnId="{81A01430-4BBA-4F48-A0D4-A69B0FC9728E}">
      <dgm:prSet/>
      <dgm:spPr/>
      <dgm:t>
        <a:bodyPr/>
        <a:lstStyle/>
        <a:p>
          <a:endParaRPr lang="ru-RU"/>
        </a:p>
      </dgm:t>
    </dgm:pt>
    <dgm:pt modelId="{7FB205AE-49F7-4CA7-8F1B-33E5CCB86FE2}" type="sibTrans" cxnId="{81A01430-4BBA-4F48-A0D4-A69B0FC9728E}">
      <dgm:prSet/>
      <dgm:spPr/>
      <dgm:t>
        <a:bodyPr/>
        <a:lstStyle/>
        <a:p>
          <a:endParaRPr lang="ru-RU"/>
        </a:p>
      </dgm:t>
    </dgm:pt>
    <dgm:pt modelId="{ED4B7D1F-D85D-44FF-A6B8-3DC78323EE09}">
      <dgm:prSet phldrT="[Текст]" custT="1"/>
      <dgm:spPr/>
      <dgm:t>
        <a:bodyPr/>
        <a:lstStyle/>
        <a:p>
          <a:endParaRPr lang="ru-RU" sz="1400" b="1" dirty="0">
            <a:solidFill>
              <a:schemeClr val="bg1"/>
            </a:solidFill>
          </a:endParaRPr>
        </a:p>
        <a:p>
          <a:r>
            <a:rPr lang="ru-RU" sz="1800" b="1" dirty="0">
              <a:solidFill>
                <a:schemeClr val="tx1"/>
              </a:solidFill>
            </a:rPr>
            <a:t>АУП</a:t>
          </a:r>
        </a:p>
        <a:p>
          <a:r>
            <a:rPr lang="ru-RU" sz="12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endParaRPr lang="ru-RU" sz="1400" b="1" dirty="0">
            <a:solidFill>
              <a:schemeClr val="bg1"/>
            </a:solidFill>
          </a:endParaRPr>
        </a:p>
      </dgm:t>
    </dgm:pt>
    <dgm:pt modelId="{44F92921-C270-4DD2-8DDD-F9468C1D6264}" type="parTrans" cxnId="{86FFCC86-FACD-4233-A949-A87B013BA634}">
      <dgm:prSet/>
      <dgm:spPr/>
      <dgm:t>
        <a:bodyPr/>
        <a:lstStyle/>
        <a:p>
          <a:endParaRPr lang="ru-RU"/>
        </a:p>
      </dgm:t>
    </dgm:pt>
    <dgm:pt modelId="{82D7B527-444F-4C5B-AF5A-858C62C09D98}" type="sibTrans" cxnId="{86FFCC86-FACD-4233-A949-A87B013BA634}">
      <dgm:prSet/>
      <dgm:spPr/>
      <dgm:t>
        <a:bodyPr/>
        <a:lstStyle/>
        <a:p>
          <a:endParaRPr lang="ru-RU"/>
        </a:p>
      </dgm:t>
    </dgm:pt>
    <dgm:pt modelId="{F8CC57AA-D8A7-4D0F-B2A5-8E5FD41A66C8}">
      <dgm:prSet phldrT="[Текст]" custT="1"/>
      <dgm:spPr/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Педработники </a:t>
          </a:r>
        </a:p>
        <a:p>
          <a:r>
            <a:rPr lang="ru-RU" sz="12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gm:t>
    </dgm:pt>
    <dgm:pt modelId="{ED277891-241F-45E5-A924-630F89F56DE9}" type="parTrans" cxnId="{329C3714-D698-4AD0-8A2F-51574A7A7386}">
      <dgm:prSet/>
      <dgm:spPr/>
      <dgm:t>
        <a:bodyPr/>
        <a:lstStyle/>
        <a:p>
          <a:endParaRPr lang="ru-RU"/>
        </a:p>
      </dgm:t>
    </dgm:pt>
    <dgm:pt modelId="{CCB24728-3614-48BD-B824-F9C96BF19A6A}" type="sibTrans" cxnId="{329C3714-D698-4AD0-8A2F-51574A7A7386}">
      <dgm:prSet/>
      <dgm:spPr/>
      <dgm:t>
        <a:bodyPr/>
        <a:lstStyle/>
        <a:p>
          <a:endParaRPr lang="ru-RU"/>
        </a:p>
      </dgm:t>
    </dgm:pt>
    <dgm:pt modelId="{5422AB39-DB2A-45F7-A065-AE63CCD0C95B}">
      <dgm:prSet/>
      <dgm:spPr/>
      <dgm:t>
        <a:bodyPr/>
        <a:lstStyle/>
        <a:p>
          <a:r>
            <a:rPr lang="ru-RU" b="1">
              <a:solidFill>
                <a:schemeClr val="tx1"/>
              </a:solidFill>
            </a:rPr>
            <a:t>Сбор большого количества данных (мониторинги и ИС)</a:t>
          </a:r>
          <a:endParaRPr lang="ru-RU" b="1" dirty="0">
            <a:solidFill>
              <a:schemeClr val="tx1"/>
            </a:solidFill>
          </a:endParaRPr>
        </a:p>
      </dgm:t>
    </dgm:pt>
    <dgm:pt modelId="{AC9851D6-B2CC-4338-A103-95E4A1C70396}" type="parTrans" cxnId="{416008AD-CBF8-4BC5-A851-2755D35D9A88}">
      <dgm:prSet/>
      <dgm:spPr/>
      <dgm:t>
        <a:bodyPr/>
        <a:lstStyle/>
        <a:p>
          <a:endParaRPr lang="ru-RU"/>
        </a:p>
      </dgm:t>
    </dgm:pt>
    <dgm:pt modelId="{9FDBD9DA-6E45-4AC2-9E2E-712F379813FB}" type="sibTrans" cxnId="{416008AD-CBF8-4BC5-A851-2755D35D9A88}">
      <dgm:prSet/>
      <dgm:spPr/>
      <dgm:t>
        <a:bodyPr/>
        <a:lstStyle/>
        <a:p>
          <a:endParaRPr lang="ru-RU"/>
        </a:p>
      </dgm:t>
    </dgm:pt>
    <dgm:pt modelId="{545E6893-A028-48C6-8069-47BD45BC95DF}">
      <dgm:prSet phldrT="[Текст]" custT="1"/>
      <dgm:spPr/>
      <dgm:t>
        <a:bodyPr/>
        <a:lstStyle/>
        <a:p>
          <a:r>
            <a:rPr lang="ru-RU" sz="3200" b="1" dirty="0">
              <a:solidFill>
                <a:schemeClr val="tx1"/>
              </a:solidFill>
            </a:rPr>
            <a:t>Запросы </a:t>
          </a:r>
        </a:p>
      </dgm:t>
    </dgm:pt>
    <dgm:pt modelId="{E2B9B623-340F-4FF8-A351-5EACD5C445FC}" type="parTrans" cxnId="{8D40E956-80B9-4D19-AC69-4BF0CE88C10B}">
      <dgm:prSet/>
      <dgm:spPr/>
      <dgm:t>
        <a:bodyPr/>
        <a:lstStyle/>
        <a:p>
          <a:endParaRPr lang="ru-RU"/>
        </a:p>
      </dgm:t>
    </dgm:pt>
    <dgm:pt modelId="{69DEE3E8-DC65-4069-A90E-812EE5B737C8}" type="sibTrans" cxnId="{8D40E956-80B9-4D19-AC69-4BF0CE88C10B}">
      <dgm:prSet/>
      <dgm:spPr/>
      <dgm:t>
        <a:bodyPr/>
        <a:lstStyle/>
        <a:p>
          <a:endParaRPr lang="ru-RU"/>
        </a:p>
      </dgm:t>
    </dgm:pt>
    <dgm:pt modelId="{4E468E96-98A8-4159-9532-307B29CD124E}" type="pres">
      <dgm:prSet presAssocID="{F3BDFB1C-1D3B-4763-8BDF-9A0C6414CE46}" presName="theList" presStyleCnt="0">
        <dgm:presLayoutVars>
          <dgm:dir/>
          <dgm:animLvl val="lvl"/>
          <dgm:resizeHandles val="exact"/>
        </dgm:presLayoutVars>
      </dgm:prSet>
      <dgm:spPr/>
    </dgm:pt>
    <dgm:pt modelId="{60B25778-383E-4DEF-A35F-4F69462E427A}" type="pres">
      <dgm:prSet presAssocID="{2F59BDF0-F8A1-4C03-811E-34D33DA058BB}" presName="compNode" presStyleCnt="0"/>
      <dgm:spPr/>
    </dgm:pt>
    <dgm:pt modelId="{CDB3F5B3-FB12-4ADC-9552-B9F6404F78D4}" type="pres">
      <dgm:prSet presAssocID="{2F59BDF0-F8A1-4C03-811E-34D33DA058BB}" presName="aNode" presStyleLbl="bgShp" presStyleIdx="0" presStyleCnt="3"/>
      <dgm:spPr/>
    </dgm:pt>
    <dgm:pt modelId="{3E564287-F247-4669-88A9-EADF22BDBD81}" type="pres">
      <dgm:prSet presAssocID="{2F59BDF0-F8A1-4C03-811E-34D33DA058BB}" presName="textNode" presStyleLbl="bgShp" presStyleIdx="0" presStyleCnt="3"/>
      <dgm:spPr/>
    </dgm:pt>
    <dgm:pt modelId="{1A36D4F4-99F1-4801-9406-5FD8CAC612E5}" type="pres">
      <dgm:prSet presAssocID="{2F59BDF0-F8A1-4C03-811E-34D33DA058BB}" presName="compChildNode" presStyleCnt="0"/>
      <dgm:spPr/>
    </dgm:pt>
    <dgm:pt modelId="{E23DBA2C-D04B-49C0-BCC5-5EC499891BC5}" type="pres">
      <dgm:prSet presAssocID="{2F59BDF0-F8A1-4C03-811E-34D33DA058BB}" presName="theInnerList" presStyleCnt="0"/>
      <dgm:spPr/>
    </dgm:pt>
    <dgm:pt modelId="{50ABF2AD-B33F-449A-A52C-6E778A7C7A68}" type="pres">
      <dgm:prSet presAssocID="{097B274B-9946-40E3-9770-B27F28E00D41}" presName="childNode" presStyleLbl="node1" presStyleIdx="0" presStyleCnt="6">
        <dgm:presLayoutVars>
          <dgm:bulletEnabled val="1"/>
        </dgm:presLayoutVars>
      </dgm:prSet>
      <dgm:spPr/>
    </dgm:pt>
    <dgm:pt modelId="{6BD8F302-D5C7-4BE7-95CE-CE7971D8C548}" type="pres">
      <dgm:prSet presAssocID="{097B274B-9946-40E3-9770-B27F28E00D41}" presName="aSpace2" presStyleCnt="0"/>
      <dgm:spPr/>
    </dgm:pt>
    <dgm:pt modelId="{32FD1BB4-6973-4F76-A8F9-4114413FC20B}" type="pres">
      <dgm:prSet presAssocID="{3B259DC4-B5DB-46EB-8866-5E30C96611AA}" presName="childNode" presStyleLbl="node1" presStyleIdx="1" presStyleCnt="6">
        <dgm:presLayoutVars>
          <dgm:bulletEnabled val="1"/>
        </dgm:presLayoutVars>
      </dgm:prSet>
      <dgm:spPr/>
    </dgm:pt>
    <dgm:pt modelId="{63F7B9BC-065B-44D8-A326-217EF5CE6FB2}" type="pres">
      <dgm:prSet presAssocID="{2F59BDF0-F8A1-4C03-811E-34D33DA058BB}" presName="aSpace" presStyleCnt="0"/>
      <dgm:spPr/>
    </dgm:pt>
    <dgm:pt modelId="{24B4337B-B7E9-4880-8E87-79C625C2C117}" type="pres">
      <dgm:prSet presAssocID="{A044767E-D98D-4A11-AF28-85FF3B75317C}" presName="compNode" presStyleCnt="0"/>
      <dgm:spPr/>
    </dgm:pt>
    <dgm:pt modelId="{D7D7E2EB-1607-4954-9C84-FC9844DD7A83}" type="pres">
      <dgm:prSet presAssocID="{A044767E-D98D-4A11-AF28-85FF3B75317C}" presName="aNode" presStyleLbl="bgShp" presStyleIdx="1" presStyleCnt="3"/>
      <dgm:spPr/>
    </dgm:pt>
    <dgm:pt modelId="{D1124199-F191-44F4-B89A-794BBA781E24}" type="pres">
      <dgm:prSet presAssocID="{A044767E-D98D-4A11-AF28-85FF3B75317C}" presName="textNode" presStyleLbl="bgShp" presStyleIdx="1" presStyleCnt="3"/>
      <dgm:spPr/>
    </dgm:pt>
    <dgm:pt modelId="{6A88615E-9710-4DBC-8771-2017E86A81E1}" type="pres">
      <dgm:prSet presAssocID="{A044767E-D98D-4A11-AF28-85FF3B75317C}" presName="compChildNode" presStyleCnt="0"/>
      <dgm:spPr/>
    </dgm:pt>
    <dgm:pt modelId="{C4A343A7-938F-4951-9966-836AA5D07D48}" type="pres">
      <dgm:prSet presAssocID="{A044767E-D98D-4A11-AF28-85FF3B75317C}" presName="theInnerList" presStyleCnt="0"/>
      <dgm:spPr/>
    </dgm:pt>
    <dgm:pt modelId="{3776E125-FE25-4D0B-A65A-E95AB71DFCE5}" type="pres">
      <dgm:prSet presAssocID="{5422AB39-DB2A-45F7-A065-AE63CCD0C95B}" presName="childNode" presStyleLbl="node1" presStyleIdx="2" presStyleCnt="6">
        <dgm:presLayoutVars>
          <dgm:bulletEnabled val="1"/>
        </dgm:presLayoutVars>
      </dgm:prSet>
      <dgm:spPr/>
    </dgm:pt>
    <dgm:pt modelId="{758D7862-901C-45BF-B186-8C9D1F9AC43D}" type="pres">
      <dgm:prSet presAssocID="{5422AB39-DB2A-45F7-A065-AE63CCD0C95B}" presName="aSpace2" presStyleCnt="0"/>
      <dgm:spPr/>
    </dgm:pt>
    <dgm:pt modelId="{F5C6162B-22DD-404F-A9F6-D8D10B04EF6A}" type="pres">
      <dgm:prSet presAssocID="{545E6893-A028-48C6-8069-47BD45BC95DF}" presName="childNode" presStyleLbl="node1" presStyleIdx="3" presStyleCnt="6">
        <dgm:presLayoutVars>
          <dgm:bulletEnabled val="1"/>
        </dgm:presLayoutVars>
      </dgm:prSet>
      <dgm:spPr/>
    </dgm:pt>
    <dgm:pt modelId="{430004C5-DE8C-4D8A-B45F-F80E22C2E242}" type="pres">
      <dgm:prSet presAssocID="{A044767E-D98D-4A11-AF28-85FF3B75317C}" presName="aSpace" presStyleCnt="0"/>
      <dgm:spPr/>
    </dgm:pt>
    <dgm:pt modelId="{FCAB5B5C-5D99-4E3D-95D0-008B385CF0A9}" type="pres">
      <dgm:prSet presAssocID="{89C3F3F1-F04D-4CA0-AA23-73B65B058F97}" presName="compNode" presStyleCnt="0"/>
      <dgm:spPr/>
    </dgm:pt>
    <dgm:pt modelId="{4EA7DD2E-6DF0-4829-810D-25011906D1C2}" type="pres">
      <dgm:prSet presAssocID="{89C3F3F1-F04D-4CA0-AA23-73B65B058F97}" presName="aNode" presStyleLbl="bgShp" presStyleIdx="2" presStyleCnt="3"/>
      <dgm:spPr/>
    </dgm:pt>
    <dgm:pt modelId="{B43C3F6C-983E-4CE7-B59C-0D9D9A887A56}" type="pres">
      <dgm:prSet presAssocID="{89C3F3F1-F04D-4CA0-AA23-73B65B058F97}" presName="textNode" presStyleLbl="bgShp" presStyleIdx="2" presStyleCnt="3"/>
      <dgm:spPr/>
    </dgm:pt>
    <dgm:pt modelId="{93704ADD-4403-4407-8AB1-6DFC615EA455}" type="pres">
      <dgm:prSet presAssocID="{89C3F3F1-F04D-4CA0-AA23-73B65B058F97}" presName="compChildNode" presStyleCnt="0"/>
      <dgm:spPr/>
    </dgm:pt>
    <dgm:pt modelId="{56DEABAA-C6F3-45B2-9A27-66DD07E1D7CF}" type="pres">
      <dgm:prSet presAssocID="{89C3F3F1-F04D-4CA0-AA23-73B65B058F97}" presName="theInnerList" presStyleCnt="0"/>
      <dgm:spPr/>
    </dgm:pt>
    <dgm:pt modelId="{7C4C355C-BC27-4CB7-A7C2-0BCF2405CFBB}" type="pres">
      <dgm:prSet presAssocID="{ED4B7D1F-D85D-44FF-A6B8-3DC78323EE09}" presName="childNode" presStyleLbl="node1" presStyleIdx="4" presStyleCnt="6">
        <dgm:presLayoutVars>
          <dgm:bulletEnabled val="1"/>
        </dgm:presLayoutVars>
      </dgm:prSet>
      <dgm:spPr/>
    </dgm:pt>
    <dgm:pt modelId="{5A22A6B9-92C4-4A2D-8C24-06355AE3A373}" type="pres">
      <dgm:prSet presAssocID="{ED4B7D1F-D85D-44FF-A6B8-3DC78323EE09}" presName="aSpace2" presStyleCnt="0"/>
      <dgm:spPr/>
    </dgm:pt>
    <dgm:pt modelId="{65197ABA-D384-40A9-8875-09BFEADA7321}" type="pres">
      <dgm:prSet presAssocID="{F8CC57AA-D8A7-4D0F-B2A5-8E5FD41A66C8}" presName="childNode" presStyleLbl="node1" presStyleIdx="5" presStyleCnt="6">
        <dgm:presLayoutVars>
          <dgm:bulletEnabled val="1"/>
        </dgm:presLayoutVars>
      </dgm:prSet>
      <dgm:spPr/>
    </dgm:pt>
  </dgm:ptLst>
  <dgm:cxnLst>
    <dgm:cxn modelId="{329C3714-D698-4AD0-8A2F-51574A7A7386}" srcId="{89C3F3F1-F04D-4CA0-AA23-73B65B058F97}" destId="{F8CC57AA-D8A7-4D0F-B2A5-8E5FD41A66C8}" srcOrd="1" destOrd="0" parTransId="{ED277891-241F-45E5-A924-630F89F56DE9}" sibTransId="{CCB24728-3614-48BD-B824-F9C96BF19A6A}"/>
    <dgm:cxn modelId="{81A01430-4BBA-4F48-A0D4-A69B0FC9728E}" srcId="{F3BDFB1C-1D3B-4763-8BDF-9A0C6414CE46}" destId="{89C3F3F1-F04D-4CA0-AA23-73B65B058F97}" srcOrd="2" destOrd="0" parTransId="{93C2F367-BF94-4B49-84C3-90723A2559A4}" sibTransId="{7FB205AE-49F7-4CA7-8F1B-33E5CCB86FE2}"/>
    <dgm:cxn modelId="{2274443C-05D6-4D41-BAD9-C502D6530FD4}" type="presOf" srcId="{89C3F3F1-F04D-4CA0-AA23-73B65B058F97}" destId="{4EA7DD2E-6DF0-4829-810D-25011906D1C2}" srcOrd="0" destOrd="0" presId="urn:microsoft.com/office/officeart/2005/8/layout/lProcess2"/>
    <dgm:cxn modelId="{E21FE849-BD8F-43FB-8B32-7623FAC62497}" type="presOf" srcId="{097B274B-9946-40E3-9770-B27F28E00D41}" destId="{50ABF2AD-B33F-449A-A52C-6E778A7C7A68}" srcOrd="0" destOrd="0" presId="urn:microsoft.com/office/officeart/2005/8/layout/lProcess2"/>
    <dgm:cxn modelId="{46C3EC4F-4EE9-48E0-B494-BF1555C743DA}" type="presOf" srcId="{F3BDFB1C-1D3B-4763-8BDF-9A0C6414CE46}" destId="{4E468E96-98A8-4159-9532-307B29CD124E}" srcOrd="0" destOrd="0" presId="urn:microsoft.com/office/officeart/2005/8/layout/lProcess2"/>
    <dgm:cxn modelId="{8D40E956-80B9-4D19-AC69-4BF0CE88C10B}" srcId="{A044767E-D98D-4A11-AF28-85FF3B75317C}" destId="{545E6893-A028-48C6-8069-47BD45BC95DF}" srcOrd="1" destOrd="0" parTransId="{E2B9B623-340F-4FF8-A351-5EACD5C445FC}" sibTransId="{69DEE3E8-DC65-4069-A90E-812EE5B737C8}"/>
    <dgm:cxn modelId="{FD192259-49B1-406D-890A-D177808EBA1B}" srcId="{2F59BDF0-F8A1-4C03-811E-34D33DA058BB}" destId="{3B259DC4-B5DB-46EB-8866-5E30C96611AA}" srcOrd="1" destOrd="0" parTransId="{CD542C30-9749-4934-8A63-B89991FFAA96}" sibTransId="{95157ABF-801B-4653-A2B9-EA95002467A0}"/>
    <dgm:cxn modelId="{23C2B667-8201-4F17-8868-E1A22FFF53F0}" type="presOf" srcId="{2F59BDF0-F8A1-4C03-811E-34D33DA058BB}" destId="{CDB3F5B3-FB12-4ADC-9552-B9F6404F78D4}" srcOrd="0" destOrd="0" presId="urn:microsoft.com/office/officeart/2005/8/layout/lProcess2"/>
    <dgm:cxn modelId="{86FFCC86-FACD-4233-A949-A87B013BA634}" srcId="{89C3F3F1-F04D-4CA0-AA23-73B65B058F97}" destId="{ED4B7D1F-D85D-44FF-A6B8-3DC78323EE09}" srcOrd="0" destOrd="0" parTransId="{44F92921-C270-4DD2-8DDD-F9468C1D6264}" sibTransId="{82D7B527-444F-4C5B-AF5A-858C62C09D98}"/>
    <dgm:cxn modelId="{EF5B278F-25EF-4672-9B3E-4A0AAEC9E16C}" type="presOf" srcId="{A044767E-D98D-4A11-AF28-85FF3B75317C}" destId="{D1124199-F191-44F4-B89A-794BBA781E24}" srcOrd="1" destOrd="0" presId="urn:microsoft.com/office/officeart/2005/8/layout/lProcess2"/>
    <dgm:cxn modelId="{49A1959B-9112-488B-9284-095C49F6EB60}" type="presOf" srcId="{F8CC57AA-D8A7-4D0F-B2A5-8E5FD41A66C8}" destId="{65197ABA-D384-40A9-8875-09BFEADA7321}" srcOrd="0" destOrd="0" presId="urn:microsoft.com/office/officeart/2005/8/layout/lProcess2"/>
    <dgm:cxn modelId="{0B5DB2A2-78A7-47B5-850E-51A0FA0ED6D5}" srcId="{F3BDFB1C-1D3B-4763-8BDF-9A0C6414CE46}" destId="{A044767E-D98D-4A11-AF28-85FF3B75317C}" srcOrd="1" destOrd="0" parTransId="{918BE1E2-7C21-4A88-99E6-71B9E2086807}" sibTransId="{61C4B9C6-2465-4B99-8B0D-E90DF9A0A89E}"/>
    <dgm:cxn modelId="{6E92A1A7-9063-441F-8C4A-34CB329822FC}" type="presOf" srcId="{ED4B7D1F-D85D-44FF-A6B8-3DC78323EE09}" destId="{7C4C355C-BC27-4CB7-A7C2-0BCF2405CFBB}" srcOrd="0" destOrd="0" presId="urn:microsoft.com/office/officeart/2005/8/layout/lProcess2"/>
    <dgm:cxn modelId="{2383ACAA-814D-4239-806C-5FFD28DC473B}" type="presOf" srcId="{2F59BDF0-F8A1-4C03-811E-34D33DA058BB}" destId="{3E564287-F247-4669-88A9-EADF22BDBD81}" srcOrd="1" destOrd="0" presId="urn:microsoft.com/office/officeart/2005/8/layout/lProcess2"/>
    <dgm:cxn modelId="{93D782AB-A7D5-4C0F-A5D3-C4964F11034A}" srcId="{F3BDFB1C-1D3B-4763-8BDF-9A0C6414CE46}" destId="{2F59BDF0-F8A1-4C03-811E-34D33DA058BB}" srcOrd="0" destOrd="0" parTransId="{1ABE6DA7-7DF1-4359-AE94-45A1CAC01F86}" sibTransId="{8F9DA785-26D0-4AAE-9BB9-8A7879C14407}"/>
    <dgm:cxn modelId="{416008AD-CBF8-4BC5-A851-2755D35D9A88}" srcId="{A044767E-D98D-4A11-AF28-85FF3B75317C}" destId="{5422AB39-DB2A-45F7-A065-AE63CCD0C95B}" srcOrd="0" destOrd="0" parTransId="{AC9851D6-B2CC-4338-A103-95E4A1C70396}" sibTransId="{9FDBD9DA-6E45-4AC2-9E2E-712F379813FB}"/>
    <dgm:cxn modelId="{57EDCEB4-7561-4A76-ABE8-E83CCAA43327}" type="presOf" srcId="{89C3F3F1-F04D-4CA0-AA23-73B65B058F97}" destId="{B43C3F6C-983E-4CE7-B59C-0D9D9A887A56}" srcOrd="1" destOrd="0" presId="urn:microsoft.com/office/officeart/2005/8/layout/lProcess2"/>
    <dgm:cxn modelId="{5D6CCABC-4CEF-498A-A9C7-E8C9DE1A20A5}" srcId="{2F59BDF0-F8A1-4C03-811E-34D33DA058BB}" destId="{097B274B-9946-40E3-9770-B27F28E00D41}" srcOrd="0" destOrd="0" parTransId="{5EBC44C6-4DF5-4901-BBE1-0E25B3DDCFCE}" sibTransId="{BBACE343-E955-4A66-991A-81B858D71AD9}"/>
    <dgm:cxn modelId="{219A2BCC-36A1-4440-AFD6-13FB2CC94AA2}" type="presOf" srcId="{545E6893-A028-48C6-8069-47BD45BC95DF}" destId="{F5C6162B-22DD-404F-A9F6-D8D10B04EF6A}" srcOrd="0" destOrd="0" presId="urn:microsoft.com/office/officeart/2005/8/layout/lProcess2"/>
    <dgm:cxn modelId="{E6C34DD2-4C2E-4907-95DC-DE1993973D85}" type="presOf" srcId="{A044767E-D98D-4A11-AF28-85FF3B75317C}" destId="{D7D7E2EB-1607-4954-9C84-FC9844DD7A83}" srcOrd="0" destOrd="0" presId="urn:microsoft.com/office/officeart/2005/8/layout/lProcess2"/>
    <dgm:cxn modelId="{1AF19BEB-8FED-4B60-944F-4034942C2477}" type="presOf" srcId="{3B259DC4-B5DB-46EB-8866-5E30C96611AA}" destId="{32FD1BB4-6973-4F76-A8F9-4114413FC20B}" srcOrd="0" destOrd="0" presId="urn:microsoft.com/office/officeart/2005/8/layout/lProcess2"/>
    <dgm:cxn modelId="{5FDD93F3-6D72-4833-BC7B-7C5050850B19}" type="presOf" srcId="{5422AB39-DB2A-45F7-A065-AE63CCD0C95B}" destId="{3776E125-FE25-4D0B-A65A-E95AB71DFCE5}" srcOrd="0" destOrd="0" presId="urn:microsoft.com/office/officeart/2005/8/layout/lProcess2"/>
    <dgm:cxn modelId="{FF2478CA-1A50-4525-A612-6BF46D8949EC}" type="presParOf" srcId="{4E468E96-98A8-4159-9532-307B29CD124E}" destId="{60B25778-383E-4DEF-A35F-4F69462E427A}" srcOrd="0" destOrd="0" presId="urn:microsoft.com/office/officeart/2005/8/layout/lProcess2"/>
    <dgm:cxn modelId="{09E431EE-F7FA-4551-8894-99BC0E1D6E9C}" type="presParOf" srcId="{60B25778-383E-4DEF-A35F-4F69462E427A}" destId="{CDB3F5B3-FB12-4ADC-9552-B9F6404F78D4}" srcOrd="0" destOrd="0" presId="urn:microsoft.com/office/officeart/2005/8/layout/lProcess2"/>
    <dgm:cxn modelId="{939AA72A-2381-4B5A-A8D3-FEF3F48FF5C1}" type="presParOf" srcId="{60B25778-383E-4DEF-A35F-4F69462E427A}" destId="{3E564287-F247-4669-88A9-EADF22BDBD81}" srcOrd="1" destOrd="0" presId="urn:microsoft.com/office/officeart/2005/8/layout/lProcess2"/>
    <dgm:cxn modelId="{34EA3AF6-5D9F-40F4-A5F2-6DE01BEF746A}" type="presParOf" srcId="{60B25778-383E-4DEF-A35F-4F69462E427A}" destId="{1A36D4F4-99F1-4801-9406-5FD8CAC612E5}" srcOrd="2" destOrd="0" presId="urn:microsoft.com/office/officeart/2005/8/layout/lProcess2"/>
    <dgm:cxn modelId="{C7A07EFA-694E-4862-934D-AF00E5CC8734}" type="presParOf" srcId="{1A36D4F4-99F1-4801-9406-5FD8CAC612E5}" destId="{E23DBA2C-D04B-49C0-BCC5-5EC499891BC5}" srcOrd="0" destOrd="0" presId="urn:microsoft.com/office/officeart/2005/8/layout/lProcess2"/>
    <dgm:cxn modelId="{CC7BBD50-693E-46C9-BBFB-BFC608E3D1C7}" type="presParOf" srcId="{E23DBA2C-D04B-49C0-BCC5-5EC499891BC5}" destId="{50ABF2AD-B33F-449A-A52C-6E778A7C7A68}" srcOrd="0" destOrd="0" presId="urn:microsoft.com/office/officeart/2005/8/layout/lProcess2"/>
    <dgm:cxn modelId="{4338A5DB-FD07-440D-A711-A3FEC7358005}" type="presParOf" srcId="{E23DBA2C-D04B-49C0-BCC5-5EC499891BC5}" destId="{6BD8F302-D5C7-4BE7-95CE-CE7971D8C548}" srcOrd="1" destOrd="0" presId="urn:microsoft.com/office/officeart/2005/8/layout/lProcess2"/>
    <dgm:cxn modelId="{307EAC84-AE74-429B-BD75-06803DAB7B1C}" type="presParOf" srcId="{E23DBA2C-D04B-49C0-BCC5-5EC499891BC5}" destId="{32FD1BB4-6973-4F76-A8F9-4114413FC20B}" srcOrd="2" destOrd="0" presId="urn:microsoft.com/office/officeart/2005/8/layout/lProcess2"/>
    <dgm:cxn modelId="{A6E33010-C946-47D7-9991-C3189DCB1737}" type="presParOf" srcId="{4E468E96-98A8-4159-9532-307B29CD124E}" destId="{63F7B9BC-065B-44D8-A326-217EF5CE6FB2}" srcOrd="1" destOrd="0" presId="urn:microsoft.com/office/officeart/2005/8/layout/lProcess2"/>
    <dgm:cxn modelId="{EF97AE20-AD79-4279-8FA1-5C92E989FCC5}" type="presParOf" srcId="{4E468E96-98A8-4159-9532-307B29CD124E}" destId="{24B4337B-B7E9-4880-8E87-79C625C2C117}" srcOrd="2" destOrd="0" presId="urn:microsoft.com/office/officeart/2005/8/layout/lProcess2"/>
    <dgm:cxn modelId="{A2D9358E-D4A4-4F33-A984-77E4EBE38F0E}" type="presParOf" srcId="{24B4337B-B7E9-4880-8E87-79C625C2C117}" destId="{D7D7E2EB-1607-4954-9C84-FC9844DD7A83}" srcOrd="0" destOrd="0" presId="urn:microsoft.com/office/officeart/2005/8/layout/lProcess2"/>
    <dgm:cxn modelId="{40E7D887-BE68-4934-B00F-7542F297A569}" type="presParOf" srcId="{24B4337B-B7E9-4880-8E87-79C625C2C117}" destId="{D1124199-F191-44F4-B89A-794BBA781E24}" srcOrd="1" destOrd="0" presId="urn:microsoft.com/office/officeart/2005/8/layout/lProcess2"/>
    <dgm:cxn modelId="{E4745568-0998-48AC-A1D3-0FCE536516A7}" type="presParOf" srcId="{24B4337B-B7E9-4880-8E87-79C625C2C117}" destId="{6A88615E-9710-4DBC-8771-2017E86A81E1}" srcOrd="2" destOrd="0" presId="urn:microsoft.com/office/officeart/2005/8/layout/lProcess2"/>
    <dgm:cxn modelId="{01D1C2B6-E801-4F83-B0E0-326885417EB0}" type="presParOf" srcId="{6A88615E-9710-4DBC-8771-2017E86A81E1}" destId="{C4A343A7-938F-4951-9966-836AA5D07D48}" srcOrd="0" destOrd="0" presId="urn:microsoft.com/office/officeart/2005/8/layout/lProcess2"/>
    <dgm:cxn modelId="{99AE33F2-B5F4-4116-A681-A15B2D5F9B03}" type="presParOf" srcId="{C4A343A7-938F-4951-9966-836AA5D07D48}" destId="{3776E125-FE25-4D0B-A65A-E95AB71DFCE5}" srcOrd="0" destOrd="0" presId="urn:microsoft.com/office/officeart/2005/8/layout/lProcess2"/>
    <dgm:cxn modelId="{97C9E4DC-883B-4E0C-9224-E9FD305C80E0}" type="presParOf" srcId="{C4A343A7-938F-4951-9966-836AA5D07D48}" destId="{758D7862-901C-45BF-B186-8C9D1F9AC43D}" srcOrd="1" destOrd="0" presId="urn:microsoft.com/office/officeart/2005/8/layout/lProcess2"/>
    <dgm:cxn modelId="{C85E0F54-8A3B-4B9E-956B-B83FF97BB0A7}" type="presParOf" srcId="{C4A343A7-938F-4951-9966-836AA5D07D48}" destId="{F5C6162B-22DD-404F-A9F6-D8D10B04EF6A}" srcOrd="2" destOrd="0" presId="urn:microsoft.com/office/officeart/2005/8/layout/lProcess2"/>
    <dgm:cxn modelId="{B80BB4EA-7832-4238-AEF7-D31CCAA13668}" type="presParOf" srcId="{4E468E96-98A8-4159-9532-307B29CD124E}" destId="{430004C5-DE8C-4D8A-B45F-F80E22C2E242}" srcOrd="3" destOrd="0" presId="urn:microsoft.com/office/officeart/2005/8/layout/lProcess2"/>
    <dgm:cxn modelId="{03AD1A34-E7D1-40E7-8B2F-6210544E16CF}" type="presParOf" srcId="{4E468E96-98A8-4159-9532-307B29CD124E}" destId="{FCAB5B5C-5D99-4E3D-95D0-008B385CF0A9}" srcOrd="4" destOrd="0" presId="urn:microsoft.com/office/officeart/2005/8/layout/lProcess2"/>
    <dgm:cxn modelId="{9D93458B-0660-4584-B0A2-59AB5140CE5F}" type="presParOf" srcId="{FCAB5B5C-5D99-4E3D-95D0-008B385CF0A9}" destId="{4EA7DD2E-6DF0-4829-810D-25011906D1C2}" srcOrd="0" destOrd="0" presId="urn:microsoft.com/office/officeart/2005/8/layout/lProcess2"/>
    <dgm:cxn modelId="{F5F40919-CA34-4FD0-8F76-10BAD84A3EF7}" type="presParOf" srcId="{FCAB5B5C-5D99-4E3D-95D0-008B385CF0A9}" destId="{B43C3F6C-983E-4CE7-B59C-0D9D9A887A56}" srcOrd="1" destOrd="0" presId="urn:microsoft.com/office/officeart/2005/8/layout/lProcess2"/>
    <dgm:cxn modelId="{DD9CA215-E4ED-4A30-BB20-6F2648F9306F}" type="presParOf" srcId="{FCAB5B5C-5D99-4E3D-95D0-008B385CF0A9}" destId="{93704ADD-4403-4407-8AB1-6DFC615EA455}" srcOrd="2" destOrd="0" presId="urn:microsoft.com/office/officeart/2005/8/layout/lProcess2"/>
    <dgm:cxn modelId="{7E9D7B7E-2287-40BF-BE55-8DB00382DF40}" type="presParOf" srcId="{93704ADD-4403-4407-8AB1-6DFC615EA455}" destId="{56DEABAA-C6F3-45B2-9A27-66DD07E1D7CF}" srcOrd="0" destOrd="0" presId="urn:microsoft.com/office/officeart/2005/8/layout/lProcess2"/>
    <dgm:cxn modelId="{ABE3AD68-C96E-4AEC-B936-550E4C6B334D}" type="presParOf" srcId="{56DEABAA-C6F3-45B2-9A27-66DD07E1D7CF}" destId="{7C4C355C-BC27-4CB7-A7C2-0BCF2405CFBB}" srcOrd="0" destOrd="0" presId="urn:microsoft.com/office/officeart/2005/8/layout/lProcess2"/>
    <dgm:cxn modelId="{C3D75CAC-37DA-48D3-BC3A-1549DBD42853}" type="presParOf" srcId="{56DEABAA-C6F3-45B2-9A27-66DD07E1D7CF}" destId="{5A22A6B9-92C4-4A2D-8C24-06355AE3A373}" srcOrd="1" destOrd="0" presId="urn:microsoft.com/office/officeart/2005/8/layout/lProcess2"/>
    <dgm:cxn modelId="{ED90BB61-C1EE-47B3-9F2A-DAC805EBFF5B}" type="presParOf" srcId="{56DEABAA-C6F3-45B2-9A27-66DD07E1D7CF}" destId="{65197ABA-D384-40A9-8875-09BFEADA7321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95D7F84-53EC-4445-B85F-AC665E07210A}" type="doc">
      <dgm:prSet loTypeId="urn:microsoft.com/office/officeart/2005/8/layout/hProcess9" loCatId="process" qsTypeId="urn:microsoft.com/office/officeart/2005/8/quickstyle/simple3" qsCatId="simple" csTypeId="urn:microsoft.com/office/officeart/2005/8/colors/accent1_2" csCatId="accent1" phldr="1"/>
      <dgm:spPr/>
    </dgm:pt>
    <dgm:pt modelId="{4FC931E7-36C1-4F96-B3B3-5AE9B44AFD1E}">
      <dgm:prSet phldrT="[Текст]"/>
      <dgm:spPr/>
      <dgm:t>
        <a:bodyPr/>
        <a:lstStyle/>
        <a:p>
          <a:r>
            <a:rPr lang="ru-RU" dirty="0"/>
            <a:t>Снижение объема документации</a:t>
          </a:r>
        </a:p>
      </dgm:t>
    </dgm:pt>
    <dgm:pt modelId="{C12E667A-54B0-46AD-A635-83C7AFF55295}" type="parTrans" cxnId="{708DBD3F-75EF-4E70-8BCF-B40E721BA24E}">
      <dgm:prSet/>
      <dgm:spPr/>
      <dgm:t>
        <a:bodyPr/>
        <a:lstStyle/>
        <a:p>
          <a:endParaRPr lang="ru-RU"/>
        </a:p>
      </dgm:t>
    </dgm:pt>
    <dgm:pt modelId="{EEE989E9-16AA-4402-A45A-9FAD96C27259}" type="sibTrans" cxnId="{708DBD3F-75EF-4E70-8BCF-B40E721BA24E}">
      <dgm:prSet/>
      <dgm:spPr/>
      <dgm:t>
        <a:bodyPr/>
        <a:lstStyle/>
        <a:p>
          <a:endParaRPr lang="ru-RU"/>
        </a:p>
      </dgm:t>
    </dgm:pt>
    <dgm:pt modelId="{2B2BDB5D-D556-4F67-B5BB-5BC99AF9E092}">
      <dgm:prSet phldrT="[Текст]"/>
      <dgm:spPr/>
      <dgm:t>
        <a:bodyPr/>
        <a:lstStyle/>
        <a:p>
          <a:r>
            <a:rPr lang="ru-RU" dirty="0"/>
            <a:t>Снижение объема мониторингов </a:t>
          </a:r>
        </a:p>
      </dgm:t>
    </dgm:pt>
    <dgm:pt modelId="{2FE80524-0DA1-4DA4-9324-705BCE6EB930}" type="parTrans" cxnId="{7744A1B5-1494-46BE-8254-2AE413B838A6}">
      <dgm:prSet/>
      <dgm:spPr/>
      <dgm:t>
        <a:bodyPr/>
        <a:lstStyle/>
        <a:p>
          <a:endParaRPr lang="ru-RU"/>
        </a:p>
      </dgm:t>
    </dgm:pt>
    <dgm:pt modelId="{F02C0791-5DBF-4B8C-8F2B-A50CC63C3420}" type="sibTrans" cxnId="{7744A1B5-1494-46BE-8254-2AE413B838A6}">
      <dgm:prSet/>
      <dgm:spPr/>
      <dgm:t>
        <a:bodyPr/>
        <a:lstStyle/>
        <a:p>
          <a:endParaRPr lang="ru-RU"/>
        </a:p>
      </dgm:t>
    </dgm:pt>
    <dgm:pt modelId="{AB062311-6862-407F-B5E5-655A03672C39}">
      <dgm:prSet phldrT="[Текст]"/>
      <dgm:spPr/>
      <dgm:t>
        <a:bodyPr/>
        <a:lstStyle/>
        <a:p>
          <a:r>
            <a:rPr lang="ru-RU" dirty="0"/>
            <a:t>Оптимизация и интеграция  информационных систем </a:t>
          </a:r>
        </a:p>
      </dgm:t>
    </dgm:pt>
    <dgm:pt modelId="{E0D8E7A4-9865-4AB4-8969-F9B937BC824A}" type="parTrans" cxnId="{2B492D24-39A3-4D25-B67B-EA1585877D9D}">
      <dgm:prSet/>
      <dgm:spPr/>
      <dgm:t>
        <a:bodyPr/>
        <a:lstStyle/>
        <a:p>
          <a:endParaRPr lang="ru-RU"/>
        </a:p>
      </dgm:t>
    </dgm:pt>
    <dgm:pt modelId="{6EE26792-10B6-4765-A317-8BE9FA643026}" type="sibTrans" cxnId="{2B492D24-39A3-4D25-B67B-EA1585877D9D}">
      <dgm:prSet/>
      <dgm:spPr/>
      <dgm:t>
        <a:bodyPr/>
        <a:lstStyle/>
        <a:p>
          <a:endParaRPr lang="ru-RU"/>
        </a:p>
      </dgm:t>
    </dgm:pt>
    <dgm:pt modelId="{A02EDEF7-47D8-43D0-9237-DCE09E4E3DA9}">
      <dgm:prSet/>
      <dgm:spPr/>
      <dgm:t>
        <a:bodyPr/>
        <a:lstStyle/>
        <a:p>
          <a:r>
            <a:rPr lang="ru-RU" dirty="0"/>
            <a:t>Снижение количества запросов </a:t>
          </a:r>
        </a:p>
      </dgm:t>
    </dgm:pt>
    <dgm:pt modelId="{9E120780-D105-4D5E-8812-E2E87446EEB1}" type="parTrans" cxnId="{14863726-5E4B-4C38-9324-4FDB84A204DD}">
      <dgm:prSet/>
      <dgm:spPr/>
      <dgm:t>
        <a:bodyPr/>
        <a:lstStyle/>
        <a:p>
          <a:endParaRPr lang="ru-RU"/>
        </a:p>
      </dgm:t>
    </dgm:pt>
    <dgm:pt modelId="{1A4860C0-B954-4045-9A43-CDC5422C8C8F}" type="sibTrans" cxnId="{14863726-5E4B-4C38-9324-4FDB84A204DD}">
      <dgm:prSet/>
      <dgm:spPr/>
      <dgm:t>
        <a:bodyPr/>
        <a:lstStyle/>
        <a:p>
          <a:endParaRPr lang="ru-RU"/>
        </a:p>
      </dgm:t>
    </dgm:pt>
    <dgm:pt modelId="{3794C3A8-6F35-49E9-8F7B-6C25A1AB7DFB}" type="pres">
      <dgm:prSet presAssocID="{195D7F84-53EC-4445-B85F-AC665E07210A}" presName="CompostProcess" presStyleCnt="0">
        <dgm:presLayoutVars>
          <dgm:dir/>
          <dgm:resizeHandles val="exact"/>
        </dgm:presLayoutVars>
      </dgm:prSet>
      <dgm:spPr/>
    </dgm:pt>
    <dgm:pt modelId="{DA444C90-E2EA-4BC4-A4A3-3C0EB7F3951C}" type="pres">
      <dgm:prSet presAssocID="{195D7F84-53EC-4445-B85F-AC665E07210A}" presName="arrow" presStyleLbl="bgShp" presStyleIdx="0" presStyleCnt="1"/>
      <dgm:spPr/>
    </dgm:pt>
    <dgm:pt modelId="{318D07F4-0C5B-49E1-AD59-3FCA1A426037}" type="pres">
      <dgm:prSet presAssocID="{195D7F84-53EC-4445-B85F-AC665E07210A}" presName="linearProcess" presStyleCnt="0"/>
      <dgm:spPr/>
    </dgm:pt>
    <dgm:pt modelId="{3570F700-2951-4DB2-A233-A00B1F52E211}" type="pres">
      <dgm:prSet presAssocID="{4FC931E7-36C1-4F96-B3B3-5AE9B44AFD1E}" presName="textNode" presStyleLbl="node1" presStyleIdx="0" presStyleCnt="4">
        <dgm:presLayoutVars>
          <dgm:bulletEnabled val="1"/>
        </dgm:presLayoutVars>
      </dgm:prSet>
      <dgm:spPr/>
    </dgm:pt>
    <dgm:pt modelId="{227177AD-C9B8-4A9A-8C3F-5B6946CB770A}" type="pres">
      <dgm:prSet presAssocID="{EEE989E9-16AA-4402-A45A-9FAD96C27259}" presName="sibTrans" presStyleCnt="0"/>
      <dgm:spPr/>
    </dgm:pt>
    <dgm:pt modelId="{73CD7F6F-5C8D-4CE1-9EB9-B9134D4100E9}" type="pres">
      <dgm:prSet presAssocID="{2B2BDB5D-D556-4F67-B5BB-5BC99AF9E092}" presName="textNode" presStyleLbl="node1" presStyleIdx="1" presStyleCnt="4">
        <dgm:presLayoutVars>
          <dgm:bulletEnabled val="1"/>
        </dgm:presLayoutVars>
      </dgm:prSet>
      <dgm:spPr/>
    </dgm:pt>
    <dgm:pt modelId="{4F775D7C-80AD-460F-9C62-08EFC4B76993}" type="pres">
      <dgm:prSet presAssocID="{F02C0791-5DBF-4B8C-8F2B-A50CC63C3420}" presName="sibTrans" presStyleCnt="0"/>
      <dgm:spPr/>
    </dgm:pt>
    <dgm:pt modelId="{2FCF2879-2DEC-45E0-8723-BFF92A221EAB}" type="pres">
      <dgm:prSet presAssocID="{AB062311-6862-407F-B5E5-655A03672C39}" presName="textNode" presStyleLbl="node1" presStyleIdx="2" presStyleCnt="4">
        <dgm:presLayoutVars>
          <dgm:bulletEnabled val="1"/>
        </dgm:presLayoutVars>
      </dgm:prSet>
      <dgm:spPr/>
    </dgm:pt>
    <dgm:pt modelId="{9F344D66-4099-4F36-AC2F-EC9B2F62500A}" type="pres">
      <dgm:prSet presAssocID="{6EE26792-10B6-4765-A317-8BE9FA643026}" presName="sibTrans" presStyleCnt="0"/>
      <dgm:spPr/>
    </dgm:pt>
    <dgm:pt modelId="{3AA569DE-2B99-4A3F-B54D-21428893EBE0}" type="pres">
      <dgm:prSet presAssocID="{A02EDEF7-47D8-43D0-9237-DCE09E4E3DA9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2B492D24-39A3-4D25-B67B-EA1585877D9D}" srcId="{195D7F84-53EC-4445-B85F-AC665E07210A}" destId="{AB062311-6862-407F-B5E5-655A03672C39}" srcOrd="2" destOrd="0" parTransId="{E0D8E7A4-9865-4AB4-8969-F9B937BC824A}" sibTransId="{6EE26792-10B6-4765-A317-8BE9FA643026}"/>
    <dgm:cxn modelId="{D3BE2526-42C7-4C79-8D83-DCB6DDE88272}" type="presOf" srcId="{2B2BDB5D-D556-4F67-B5BB-5BC99AF9E092}" destId="{73CD7F6F-5C8D-4CE1-9EB9-B9134D4100E9}" srcOrd="0" destOrd="0" presId="urn:microsoft.com/office/officeart/2005/8/layout/hProcess9"/>
    <dgm:cxn modelId="{14863726-5E4B-4C38-9324-4FDB84A204DD}" srcId="{195D7F84-53EC-4445-B85F-AC665E07210A}" destId="{A02EDEF7-47D8-43D0-9237-DCE09E4E3DA9}" srcOrd="3" destOrd="0" parTransId="{9E120780-D105-4D5E-8812-E2E87446EEB1}" sibTransId="{1A4860C0-B954-4045-9A43-CDC5422C8C8F}"/>
    <dgm:cxn modelId="{708DBD3F-75EF-4E70-8BCF-B40E721BA24E}" srcId="{195D7F84-53EC-4445-B85F-AC665E07210A}" destId="{4FC931E7-36C1-4F96-B3B3-5AE9B44AFD1E}" srcOrd="0" destOrd="0" parTransId="{C12E667A-54B0-46AD-A635-83C7AFF55295}" sibTransId="{EEE989E9-16AA-4402-A45A-9FAD96C27259}"/>
    <dgm:cxn modelId="{7781D74A-CE17-4EA0-BDFB-E8F5DEEE2272}" type="presOf" srcId="{A02EDEF7-47D8-43D0-9237-DCE09E4E3DA9}" destId="{3AA569DE-2B99-4A3F-B54D-21428893EBE0}" srcOrd="0" destOrd="0" presId="urn:microsoft.com/office/officeart/2005/8/layout/hProcess9"/>
    <dgm:cxn modelId="{E3F25DA1-1EBE-4265-B767-9A12B4F29E1E}" type="presOf" srcId="{195D7F84-53EC-4445-B85F-AC665E07210A}" destId="{3794C3A8-6F35-49E9-8F7B-6C25A1AB7DFB}" srcOrd="0" destOrd="0" presId="urn:microsoft.com/office/officeart/2005/8/layout/hProcess9"/>
    <dgm:cxn modelId="{B59468A2-2E82-4250-83ED-59E69FA2D7AF}" type="presOf" srcId="{4FC931E7-36C1-4F96-B3B3-5AE9B44AFD1E}" destId="{3570F700-2951-4DB2-A233-A00B1F52E211}" srcOrd="0" destOrd="0" presId="urn:microsoft.com/office/officeart/2005/8/layout/hProcess9"/>
    <dgm:cxn modelId="{30D995A6-0302-40D4-8051-7604EF3EC967}" type="presOf" srcId="{AB062311-6862-407F-B5E5-655A03672C39}" destId="{2FCF2879-2DEC-45E0-8723-BFF92A221EAB}" srcOrd="0" destOrd="0" presId="urn:microsoft.com/office/officeart/2005/8/layout/hProcess9"/>
    <dgm:cxn modelId="{7744A1B5-1494-46BE-8254-2AE413B838A6}" srcId="{195D7F84-53EC-4445-B85F-AC665E07210A}" destId="{2B2BDB5D-D556-4F67-B5BB-5BC99AF9E092}" srcOrd="1" destOrd="0" parTransId="{2FE80524-0DA1-4DA4-9324-705BCE6EB930}" sibTransId="{F02C0791-5DBF-4B8C-8F2B-A50CC63C3420}"/>
    <dgm:cxn modelId="{D03B5140-DEE6-445C-973C-9CC3F4ED61D4}" type="presParOf" srcId="{3794C3A8-6F35-49E9-8F7B-6C25A1AB7DFB}" destId="{DA444C90-E2EA-4BC4-A4A3-3C0EB7F3951C}" srcOrd="0" destOrd="0" presId="urn:microsoft.com/office/officeart/2005/8/layout/hProcess9"/>
    <dgm:cxn modelId="{06FF6789-522C-46FF-A211-1BCF6D2ED11E}" type="presParOf" srcId="{3794C3A8-6F35-49E9-8F7B-6C25A1AB7DFB}" destId="{318D07F4-0C5B-49E1-AD59-3FCA1A426037}" srcOrd="1" destOrd="0" presId="urn:microsoft.com/office/officeart/2005/8/layout/hProcess9"/>
    <dgm:cxn modelId="{30EAE812-0E95-447B-82F8-ECAB1339F287}" type="presParOf" srcId="{318D07F4-0C5B-49E1-AD59-3FCA1A426037}" destId="{3570F700-2951-4DB2-A233-A00B1F52E211}" srcOrd="0" destOrd="0" presId="urn:microsoft.com/office/officeart/2005/8/layout/hProcess9"/>
    <dgm:cxn modelId="{45C04254-E423-4A85-90C2-C9DBA3D372F7}" type="presParOf" srcId="{318D07F4-0C5B-49E1-AD59-3FCA1A426037}" destId="{227177AD-C9B8-4A9A-8C3F-5B6946CB770A}" srcOrd="1" destOrd="0" presId="urn:microsoft.com/office/officeart/2005/8/layout/hProcess9"/>
    <dgm:cxn modelId="{4FB83284-ECEA-4AF5-B719-2EA29FB2DC7A}" type="presParOf" srcId="{318D07F4-0C5B-49E1-AD59-3FCA1A426037}" destId="{73CD7F6F-5C8D-4CE1-9EB9-B9134D4100E9}" srcOrd="2" destOrd="0" presId="urn:microsoft.com/office/officeart/2005/8/layout/hProcess9"/>
    <dgm:cxn modelId="{E7ED6D7B-D1C5-4B5F-8E79-8E62FE96FFE8}" type="presParOf" srcId="{318D07F4-0C5B-49E1-AD59-3FCA1A426037}" destId="{4F775D7C-80AD-460F-9C62-08EFC4B76993}" srcOrd="3" destOrd="0" presId="urn:microsoft.com/office/officeart/2005/8/layout/hProcess9"/>
    <dgm:cxn modelId="{3B74DA2B-AD03-42F7-859D-A5A15686C68A}" type="presParOf" srcId="{318D07F4-0C5B-49E1-AD59-3FCA1A426037}" destId="{2FCF2879-2DEC-45E0-8723-BFF92A221EAB}" srcOrd="4" destOrd="0" presId="urn:microsoft.com/office/officeart/2005/8/layout/hProcess9"/>
    <dgm:cxn modelId="{5F871C57-3001-4C75-9B4B-C11D6BFF0BA5}" type="presParOf" srcId="{318D07F4-0C5B-49E1-AD59-3FCA1A426037}" destId="{9F344D66-4099-4F36-AC2F-EC9B2F62500A}" srcOrd="5" destOrd="0" presId="urn:microsoft.com/office/officeart/2005/8/layout/hProcess9"/>
    <dgm:cxn modelId="{DFAAE2D2-87E0-476C-8266-8CC2EB31DE02}" type="presParOf" srcId="{318D07F4-0C5B-49E1-AD59-3FCA1A426037}" destId="{3AA569DE-2B99-4A3F-B54D-21428893EBE0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D7FD41-5293-4C8A-958C-2ED77A6004FF}">
      <dsp:nvSpPr>
        <dsp:cNvPr id="0" name=""/>
        <dsp:cNvSpPr/>
      </dsp:nvSpPr>
      <dsp:spPr>
        <a:xfrm>
          <a:off x="2631179" y="-5201"/>
          <a:ext cx="5005713" cy="5005713"/>
        </a:xfrm>
        <a:prstGeom prst="circularArrow">
          <a:avLst>
            <a:gd name="adj1" fmla="val 5274"/>
            <a:gd name="adj2" fmla="val 312630"/>
            <a:gd name="adj3" fmla="val 14207583"/>
            <a:gd name="adj4" fmla="val 17139053"/>
            <a:gd name="adj5" fmla="val 547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76F7DA-A05C-456D-9FED-BAA7D5FA686F}">
      <dsp:nvSpPr>
        <dsp:cNvPr id="0" name=""/>
        <dsp:cNvSpPr/>
      </dsp:nvSpPr>
      <dsp:spPr>
        <a:xfrm>
          <a:off x="4171404" y="614"/>
          <a:ext cx="1925263" cy="962631"/>
        </a:xfrm>
        <a:prstGeom prst="roundRect">
          <a:avLst/>
        </a:prstGeom>
        <a:solidFill>
          <a:srgbClr val="C65D2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Загруженность учителей </a:t>
          </a:r>
        </a:p>
      </dsp:txBody>
      <dsp:txXfrm>
        <a:off x="4218396" y="47606"/>
        <a:ext cx="1831279" cy="868647"/>
      </dsp:txXfrm>
    </dsp:sp>
    <dsp:sp modelId="{FF9A7F4E-61A7-4165-9CDE-959383E90EE6}">
      <dsp:nvSpPr>
        <dsp:cNvPr id="0" name=""/>
        <dsp:cNvSpPr/>
      </dsp:nvSpPr>
      <dsp:spPr>
        <a:xfrm>
          <a:off x="5930055" y="1015972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sp:txBody>
      <dsp:txXfrm>
        <a:off x="5977047" y="1062964"/>
        <a:ext cx="1831279" cy="868647"/>
      </dsp:txXfrm>
    </dsp:sp>
    <dsp:sp modelId="{4F455018-EBF4-4209-9D90-5A9A20CE0B0E}">
      <dsp:nvSpPr>
        <dsp:cNvPr id="0" name=""/>
        <dsp:cNvSpPr/>
      </dsp:nvSpPr>
      <dsp:spPr>
        <a:xfrm>
          <a:off x="5930055" y="3046687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sp:txBody>
      <dsp:txXfrm>
        <a:off x="5977047" y="3093679"/>
        <a:ext cx="1831279" cy="868647"/>
      </dsp:txXfrm>
    </dsp:sp>
    <dsp:sp modelId="{B78DA06D-FD10-4DAA-80A9-3416FA1DD1C4}">
      <dsp:nvSpPr>
        <dsp:cNvPr id="0" name=""/>
        <dsp:cNvSpPr/>
      </dsp:nvSpPr>
      <dsp:spPr>
        <a:xfrm>
          <a:off x="4171404" y="4062045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sp:txBody>
      <dsp:txXfrm>
        <a:off x="4218396" y="4109037"/>
        <a:ext cx="1831279" cy="868647"/>
      </dsp:txXfrm>
    </dsp:sp>
    <dsp:sp modelId="{A656902B-D635-442F-8465-A64FC9976F3B}">
      <dsp:nvSpPr>
        <dsp:cNvPr id="0" name=""/>
        <dsp:cNvSpPr/>
      </dsp:nvSpPr>
      <dsp:spPr>
        <a:xfrm>
          <a:off x="2412753" y="3046687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sp:txBody>
      <dsp:txXfrm>
        <a:off x="2459745" y="3093679"/>
        <a:ext cx="1831279" cy="868647"/>
      </dsp:txXfrm>
    </dsp:sp>
    <dsp:sp modelId="{97F211FA-77BA-41DD-8E61-FA1013089D0A}">
      <dsp:nvSpPr>
        <dsp:cNvPr id="0" name=""/>
        <dsp:cNvSpPr/>
      </dsp:nvSpPr>
      <dsp:spPr>
        <a:xfrm>
          <a:off x="2412753" y="1015972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rgbClr val="7A70C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sp:txBody>
      <dsp:txXfrm>
        <a:off x="2459745" y="1062964"/>
        <a:ext cx="1831279" cy="86864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3B48E3-52FC-452C-A77B-B45AED80A4A0}">
      <dsp:nvSpPr>
        <dsp:cNvPr id="0" name=""/>
        <dsp:cNvSpPr/>
      </dsp:nvSpPr>
      <dsp:spPr>
        <a:xfrm>
          <a:off x="6270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Документация </a:t>
          </a:r>
        </a:p>
      </dsp:txBody>
      <dsp:txXfrm>
        <a:off x="6270" y="132135"/>
        <a:ext cx="1546843" cy="473662"/>
      </dsp:txXfrm>
    </dsp:sp>
    <dsp:sp modelId="{40700FF4-53A5-4568-815E-A446EA88823B}">
      <dsp:nvSpPr>
        <dsp:cNvPr id="0" name=""/>
        <dsp:cNvSpPr/>
      </dsp:nvSpPr>
      <dsp:spPr>
        <a:xfrm>
          <a:off x="3695" y="605797"/>
          <a:ext cx="1551994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документации педагогов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документации ОО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Типовые формы документов  </a:t>
          </a:r>
        </a:p>
      </dsp:txBody>
      <dsp:txXfrm>
        <a:off x="3695" y="605797"/>
        <a:ext cx="1551994" cy="1712880"/>
      </dsp:txXfrm>
    </dsp:sp>
    <dsp:sp modelId="{8ADA405E-257E-4D72-A351-F0CBF502C7E0}">
      <dsp:nvSpPr>
        <dsp:cNvPr id="0" name=""/>
        <dsp:cNvSpPr/>
      </dsp:nvSpPr>
      <dsp:spPr>
        <a:xfrm>
          <a:off x="1772247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Мониторинги </a:t>
          </a:r>
        </a:p>
      </dsp:txBody>
      <dsp:txXfrm>
        <a:off x="1772247" y="132135"/>
        <a:ext cx="1546843" cy="473662"/>
      </dsp:txXfrm>
    </dsp:sp>
    <dsp:sp modelId="{62279D8D-DDB4-4596-8DA2-EC97B21A20F6}">
      <dsp:nvSpPr>
        <dsp:cNvPr id="0" name=""/>
        <dsp:cNvSpPr/>
      </dsp:nvSpPr>
      <dsp:spPr>
        <a:xfrm>
          <a:off x="1772247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мониторингов и показателей </a:t>
          </a:r>
        </a:p>
      </dsp:txBody>
      <dsp:txXfrm>
        <a:off x="1772247" y="605797"/>
        <a:ext cx="1546843" cy="1712880"/>
      </dsp:txXfrm>
    </dsp:sp>
    <dsp:sp modelId="{FBA2DED2-25E1-4E14-BE3C-8F5ACE2C5841}">
      <dsp:nvSpPr>
        <dsp:cNvPr id="0" name=""/>
        <dsp:cNvSpPr/>
      </dsp:nvSpPr>
      <dsp:spPr>
        <a:xfrm>
          <a:off x="3535649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Информационные системы </a:t>
          </a:r>
        </a:p>
      </dsp:txBody>
      <dsp:txXfrm>
        <a:off x="3535649" y="132135"/>
        <a:ext cx="1546843" cy="473662"/>
      </dsp:txXfrm>
    </dsp:sp>
    <dsp:sp modelId="{2BE89F62-9239-4A49-8868-BEA1085FE824}">
      <dsp:nvSpPr>
        <dsp:cNvPr id="0" name=""/>
        <dsp:cNvSpPr/>
      </dsp:nvSpPr>
      <dsp:spPr>
        <a:xfrm>
          <a:off x="3535649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информационных систем и собираемых данных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Оптимизация ИС</a:t>
          </a:r>
        </a:p>
      </dsp:txBody>
      <dsp:txXfrm>
        <a:off x="3535649" y="605797"/>
        <a:ext cx="1546843" cy="1712880"/>
      </dsp:txXfrm>
    </dsp:sp>
    <dsp:sp modelId="{1A30CB1E-F15C-4D4A-9912-ED777B74C82C}">
      <dsp:nvSpPr>
        <dsp:cNvPr id="0" name=""/>
        <dsp:cNvSpPr/>
      </dsp:nvSpPr>
      <dsp:spPr>
        <a:xfrm>
          <a:off x="5299050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Запросы </a:t>
          </a:r>
        </a:p>
      </dsp:txBody>
      <dsp:txXfrm>
        <a:off x="5299050" y="132135"/>
        <a:ext cx="1546843" cy="473662"/>
      </dsp:txXfrm>
    </dsp:sp>
    <dsp:sp modelId="{802477A5-92BE-4E74-B80F-B8A323B6EC76}">
      <dsp:nvSpPr>
        <dsp:cNvPr id="0" name=""/>
        <dsp:cNvSpPr/>
      </dsp:nvSpPr>
      <dsp:spPr>
        <a:xfrm>
          <a:off x="5299050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Механизм</a:t>
          </a:r>
          <a:r>
            <a:rPr lang="ru-RU" sz="1300" kern="1200" baseline="0" dirty="0"/>
            <a:t> допуска</a:t>
          </a:r>
          <a:endParaRPr lang="ru-RU" sz="1300" kern="1200" dirty="0"/>
        </a:p>
      </dsp:txBody>
      <dsp:txXfrm>
        <a:off x="5299050" y="605797"/>
        <a:ext cx="1546843" cy="171288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771795" y="161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Назначить ответственного за исполнением закона зам. министра  </a:t>
          </a:r>
        </a:p>
      </dsp:txBody>
      <dsp:txXfrm>
        <a:off x="771795" y="161"/>
        <a:ext cx="2152677" cy="1291606"/>
      </dsp:txXfrm>
    </dsp:sp>
    <dsp:sp modelId="{FEC5274F-DEDB-40A3-8CA6-A0596DBB4121}">
      <dsp:nvSpPr>
        <dsp:cNvPr id="0" name=""/>
        <dsp:cNvSpPr/>
      </dsp:nvSpPr>
      <dsp:spPr>
        <a:xfrm>
          <a:off x="3139741" y="161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Внести изменения в региональные и локальные НПА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 dirty="0"/>
        </a:p>
      </dsp:txBody>
      <dsp:txXfrm>
        <a:off x="3139741" y="161"/>
        <a:ext cx="2152677" cy="1291606"/>
      </dsp:txXfrm>
    </dsp:sp>
    <dsp:sp modelId="{3A590DF1-1274-46F6-B381-708C79BBEDCD}">
      <dsp:nvSpPr>
        <dsp:cNvPr id="0" name=""/>
        <dsp:cNvSpPr/>
      </dsp:nvSpPr>
      <dsp:spPr>
        <a:xfrm>
          <a:off x="771795" y="1507036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Создать региональную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«Горячую линию» </a:t>
          </a:r>
        </a:p>
      </dsp:txBody>
      <dsp:txXfrm>
        <a:off x="771795" y="1507036"/>
        <a:ext cx="2152677" cy="1291606"/>
      </dsp:txXfrm>
    </dsp:sp>
    <dsp:sp modelId="{0AD35DCA-7785-4CB9-BAB0-78DC318E56B7}">
      <dsp:nvSpPr>
        <dsp:cNvPr id="0" name=""/>
        <dsp:cNvSpPr/>
      </dsp:nvSpPr>
      <dsp:spPr>
        <a:xfrm>
          <a:off x="3139741" y="1507036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овести аудит региональных мониторингов и запросов с целью минимизации </a:t>
          </a:r>
        </a:p>
      </dsp:txBody>
      <dsp:txXfrm>
        <a:off x="3139741" y="1507036"/>
        <a:ext cx="2152677" cy="129160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734246" y="1060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Приняты поправки в закон «Об образовании»  </a:t>
          </a:r>
        </a:p>
      </dsp:txBody>
      <dsp:txXfrm>
        <a:off x="734246" y="1060"/>
        <a:ext cx="2151294" cy="1290776"/>
      </dsp:txXfrm>
    </dsp:sp>
    <dsp:sp modelId="{FEC5274F-DEDB-40A3-8CA6-A0596DBB4121}">
      <dsp:nvSpPr>
        <dsp:cNvPr id="0" name=""/>
        <dsp:cNvSpPr/>
      </dsp:nvSpPr>
      <dsp:spPr>
        <a:xfrm>
          <a:off x="3100669" y="1060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Издан приказ Минпросвещения России</a:t>
          </a:r>
        </a:p>
      </dsp:txBody>
      <dsp:txXfrm>
        <a:off x="3100669" y="1060"/>
        <a:ext cx="2151294" cy="1290776"/>
      </dsp:txXfrm>
    </dsp:sp>
    <dsp:sp modelId="{3A590DF1-1274-46F6-B381-708C79BBEDCD}">
      <dsp:nvSpPr>
        <dsp:cNvPr id="0" name=""/>
        <dsp:cNvSpPr/>
      </dsp:nvSpPr>
      <dsp:spPr>
        <a:xfrm>
          <a:off x="734246" y="1506966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Создана федеральная «Горячая линия»</a:t>
          </a:r>
        </a:p>
      </dsp:txBody>
      <dsp:txXfrm>
        <a:off x="734246" y="1506966"/>
        <a:ext cx="2151294" cy="1290776"/>
      </dsp:txXfrm>
    </dsp:sp>
    <dsp:sp modelId="{0AD35DCA-7785-4CB9-BAB0-78DC318E56B7}">
      <dsp:nvSpPr>
        <dsp:cNvPr id="0" name=""/>
        <dsp:cNvSpPr/>
      </dsp:nvSpPr>
      <dsp:spPr>
        <a:xfrm>
          <a:off x="3100669" y="1506966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Ведется работа по формированию номенклатуры дел школы и педагогов всех уровней образования </a:t>
          </a:r>
        </a:p>
      </dsp:txBody>
      <dsp:txXfrm>
        <a:off x="3100669" y="1506966"/>
        <a:ext cx="2151294" cy="129077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EA30F4-581D-4A22-BA47-8F4BFE825524}">
      <dsp:nvSpPr>
        <dsp:cNvPr id="0" name=""/>
        <dsp:cNvSpPr/>
      </dsp:nvSpPr>
      <dsp:spPr>
        <a:xfrm>
          <a:off x="789" y="154423"/>
          <a:ext cx="3077957" cy="184677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sp:txBody>
      <dsp:txXfrm>
        <a:off x="789" y="154423"/>
        <a:ext cx="3077957" cy="1846774"/>
      </dsp:txXfrm>
    </dsp:sp>
    <dsp:sp modelId="{287E0992-1B9A-4C5A-A50A-A601B73F9E4E}">
      <dsp:nvSpPr>
        <dsp:cNvPr id="0" name=""/>
        <dsp:cNvSpPr/>
      </dsp:nvSpPr>
      <dsp:spPr>
        <a:xfrm>
          <a:off x="3387332" y="175366"/>
          <a:ext cx="3077957" cy="184677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б основаниях для запросов </a:t>
          </a:r>
        </a:p>
      </dsp:txBody>
      <dsp:txXfrm>
        <a:off x="3387332" y="175366"/>
        <a:ext cx="3077957" cy="1846774"/>
      </dsp:txXfrm>
    </dsp:sp>
    <dsp:sp modelId="{ECC5607D-4A57-46F2-B914-2125A02CC492}">
      <dsp:nvSpPr>
        <dsp:cNvPr id="0" name=""/>
        <dsp:cNvSpPr/>
      </dsp:nvSpPr>
      <dsp:spPr>
        <a:xfrm>
          <a:off x="789" y="2308994"/>
          <a:ext cx="3077957" cy="1846774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 корректировке определения понятия «Образовательная программа»</a:t>
          </a:r>
        </a:p>
      </dsp:txBody>
      <dsp:txXfrm>
        <a:off x="789" y="2308994"/>
        <a:ext cx="3077957" cy="1846774"/>
      </dsp:txXfrm>
    </dsp:sp>
    <dsp:sp modelId="{64ABEC80-F1A3-4CE6-AE5B-D8214C293F76}">
      <dsp:nvSpPr>
        <dsp:cNvPr id="0" name=""/>
        <dsp:cNvSpPr/>
      </dsp:nvSpPr>
      <dsp:spPr>
        <a:xfrm>
          <a:off x="3386542" y="2308994"/>
          <a:ext cx="3077957" cy="1846774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б определении понятия «Педагогическая деятельность»</a:t>
          </a:r>
        </a:p>
      </dsp:txBody>
      <dsp:txXfrm>
        <a:off x="3386542" y="2308994"/>
        <a:ext cx="3077957" cy="1846774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75E608-624A-4EF5-A53C-B8F9AFEBA39F}">
      <dsp:nvSpPr>
        <dsp:cNvPr id="0" name=""/>
        <dsp:cNvSpPr/>
      </dsp:nvSpPr>
      <dsp:spPr>
        <a:xfrm>
          <a:off x="15411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Апробация перечней документации </a:t>
          </a:r>
        </a:p>
      </dsp:txBody>
      <dsp:txXfrm>
        <a:off x="154111" y="314"/>
        <a:ext cx="2319208" cy="1391525"/>
      </dsp:txXfrm>
    </dsp:sp>
    <dsp:sp modelId="{41D6C782-42EC-41DA-9DAE-1285AF39D2E1}">
      <dsp:nvSpPr>
        <dsp:cNvPr id="0" name=""/>
        <dsp:cNvSpPr/>
      </dsp:nvSpPr>
      <dsp:spPr>
        <a:xfrm>
          <a:off x="270524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Разработка</a:t>
          </a:r>
          <a:r>
            <a:rPr lang="ru-RU" sz="1600" kern="1200" baseline="0" dirty="0"/>
            <a:t> типовых форм документов </a:t>
          </a:r>
          <a:endParaRPr lang="ru-RU" sz="1600" kern="1200" dirty="0"/>
        </a:p>
      </dsp:txBody>
      <dsp:txXfrm>
        <a:off x="2705241" y="314"/>
        <a:ext cx="2319208" cy="1391525"/>
      </dsp:txXfrm>
    </dsp:sp>
    <dsp:sp modelId="{4C973F50-DD87-41DB-80E4-ABD1BA916BE2}">
      <dsp:nvSpPr>
        <dsp:cNvPr id="0" name=""/>
        <dsp:cNvSpPr/>
      </dsp:nvSpPr>
      <dsp:spPr>
        <a:xfrm>
          <a:off x="525637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kern="1200" dirty="0"/>
            <a:t>Анализ запросов, приводящих к необходимости дополнительных документов 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0" kern="1200" dirty="0"/>
        </a:p>
      </dsp:txBody>
      <dsp:txXfrm>
        <a:off x="5256371" y="314"/>
        <a:ext cx="2319208" cy="1391525"/>
      </dsp:txXfrm>
    </dsp:sp>
    <dsp:sp modelId="{D81CD15F-B0D2-4693-9C25-4E0E71CB65BB}">
      <dsp:nvSpPr>
        <dsp:cNvPr id="0" name=""/>
        <dsp:cNvSpPr/>
      </dsp:nvSpPr>
      <dsp:spPr>
        <a:xfrm>
          <a:off x="780750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kern="1200" dirty="0"/>
            <a:t>Анализ мониторингов </a:t>
          </a:r>
        </a:p>
      </dsp:txBody>
      <dsp:txXfrm>
        <a:off x="7807501" y="314"/>
        <a:ext cx="2319208" cy="1391525"/>
      </dsp:txXfrm>
    </dsp:sp>
    <dsp:sp modelId="{B16869D2-D188-49C6-A7EB-80C9512BF2A4}">
      <dsp:nvSpPr>
        <dsp:cNvPr id="0" name=""/>
        <dsp:cNvSpPr/>
      </dsp:nvSpPr>
      <dsp:spPr>
        <a:xfrm>
          <a:off x="15411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kern="1200" dirty="0"/>
            <a:t>Анализ</a:t>
          </a:r>
          <a:r>
            <a:rPr lang="ru-RU" sz="1600" b="0" kern="1200" baseline="0" dirty="0"/>
            <a:t> данных информационных систем </a:t>
          </a:r>
          <a:endParaRPr lang="ru-RU" sz="1600" b="0" kern="1200" dirty="0"/>
        </a:p>
      </dsp:txBody>
      <dsp:txXfrm>
        <a:off x="154111" y="1623760"/>
        <a:ext cx="2319208" cy="1391525"/>
      </dsp:txXfrm>
    </dsp:sp>
    <dsp:sp modelId="{1EADCB19-031B-4A9C-A316-CA23FB10DAA4}">
      <dsp:nvSpPr>
        <dsp:cNvPr id="0" name=""/>
        <dsp:cNvSpPr/>
      </dsp:nvSpPr>
      <dsp:spPr>
        <a:xfrm>
          <a:off x="270524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Подготовка сокращенных перечней мониторингов, показателей, данных в ИС</a:t>
          </a:r>
        </a:p>
      </dsp:txBody>
      <dsp:txXfrm>
        <a:off x="2705241" y="1623760"/>
        <a:ext cx="2319208" cy="1391525"/>
      </dsp:txXfrm>
    </dsp:sp>
    <dsp:sp modelId="{C25BB5FC-E9E7-425F-B5F9-1D93711D2C33}">
      <dsp:nvSpPr>
        <dsp:cNvPr id="0" name=""/>
        <dsp:cNvSpPr/>
      </dsp:nvSpPr>
      <dsp:spPr>
        <a:xfrm>
          <a:off x="525637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Актуализация локальных актов </a:t>
          </a:r>
        </a:p>
      </dsp:txBody>
      <dsp:txXfrm>
        <a:off x="5256371" y="1623760"/>
        <a:ext cx="2319208" cy="1391525"/>
      </dsp:txXfrm>
    </dsp:sp>
    <dsp:sp modelId="{B4FB143A-90F6-4BB6-9A84-2343A93256FF}">
      <dsp:nvSpPr>
        <dsp:cNvPr id="0" name=""/>
        <dsp:cNvSpPr/>
      </dsp:nvSpPr>
      <dsp:spPr>
        <a:xfrm>
          <a:off x="780750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Подготовка предложений по доработке своих ИС</a:t>
          </a:r>
        </a:p>
      </dsp:txBody>
      <dsp:txXfrm>
        <a:off x="7807501" y="1623760"/>
        <a:ext cx="2319208" cy="1391525"/>
      </dsp:txXfrm>
    </dsp:sp>
    <dsp:sp modelId="{A90AF945-4282-486F-832F-0E851AB6CD91}">
      <dsp:nvSpPr>
        <dsp:cNvPr id="0" name=""/>
        <dsp:cNvSpPr/>
      </dsp:nvSpPr>
      <dsp:spPr>
        <a:xfrm>
          <a:off x="2705241" y="3247207"/>
          <a:ext cx="2319208" cy="1391525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Анализ федеральных программ и документов на предмет избыточности требований к отчетным документам    </a:t>
          </a:r>
        </a:p>
      </dsp:txBody>
      <dsp:txXfrm>
        <a:off x="2705241" y="3247207"/>
        <a:ext cx="2319208" cy="1391525"/>
      </dsp:txXfrm>
    </dsp:sp>
    <dsp:sp modelId="{8968FF37-B46E-4BC4-918C-7948F2CA18F2}">
      <dsp:nvSpPr>
        <dsp:cNvPr id="0" name=""/>
        <dsp:cNvSpPr/>
      </dsp:nvSpPr>
      <dsp:spPr>
        <a:xfrm>
          <a:off x="5256371" y="3247207"/>
          <a:ext cx="2319208" cy="1391525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/>
            <a:t>?</a:t>
          </a:r>
        </a:p>
      </dsp:txBody>
      <dsp:txXfrm>
        <a:off x="5256371" y="3247207"/>
        <a:ext cx="2319208" cy="1391525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C58C1E-8663-46D1-9F37-D3C1FAD8DB68}">
      <dsp:nvSpPr>
        <dsp:cNvPr id="0" name=""/>
        <dsp:cNvSpPr/>
      </dsp:nvSpPr>
      <dsp:spPr>
        <a:xfrm>
          <a:off x="772526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РОИВ </a:t>
          </a:r>
        </a:p>
      </dsp:txBody>
      <dsp:txXfrm>
        <a:off x="799944" y="28864"/>
        <a:ext cx="1817416" cy="881290"/>
      </dsp:txXfrm>
    </dsp:sp>
    <dsp:sp modelId="{88941DF5-12EC-4E3B-8CA8-2498620AE8FC}">
      <dsp:nvSpPr>
        <dsp:cNvPr id="0" name=""/>
        <dsp:cNvSpPr/>
      </dsp:nvSpPr>
      <dsp:spPr>
        <a:xfrm>
          <a:off x="959751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33DC04-2F6B-47B8-83EB-569901871D78}">
      <dsp:nvSpPr>
        <dsp:cNvPr id="0" name=""/>
        <dsp:cNvSpPr/>
      </dsp:nvSpPr>
      <dsp:spPr>
        <a:xfrm>
          <a:off x="1146976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казы </a:t>
          </a:r>
        </a:p>
      </dsp:txBody>
      <dsp:txXfrm>
        <a:off x="1174394" y="1199022"/>
        <a:ext cx="1442965" cy="881290"/>
      </dsp:txXfrm>
    </dsp:sp>
    <dsp:sp modelId="{F99F13DA-631F-4014-AD0C-56E25CD29A27}">
      <dsp:nvSpPr>
        <dsp:cNvPr id="0" name=""/>
        <dsp:cNvSpPr/>
      </dsp:nvSpPr>
      <dsp:spPr>
        <a:xfrm>
          <a:off x="959751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780EDF-8530-40EA-86FD-DCE27F1BE81C}">
      <dsp:nvSpPr>
        <dsp:cNvPr id="0" name=""/>
        <dsp:cNvSpPr/>
      </dsp:nvSpPr>
      <dsp:spPr>
        <a:xfrm>
          <a:off x="1146976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 Мероприятия </a:t>
          </a:r>
        </a:p>
      </dsp:txBody>
      <dsp:txXfrm>
        <a:off x="1174394" y="2369179"/>
        <a:ext cx="1442965" cy="881290"/>
      </dsp:txXfrm>
    </dsp:sp>
    <dsp:sp modelId="{90C563E6-CB1C-4579-A809-7956B64DD98D}">
      <dsp:nvSpPr>
        <dsp:cNvPr id="0" name=""/>
        <dsp:cNvSpPr/>
      </dsp:nvSpPr>
      <dsp:spPr>
        <a:xfrm>
          <a:off x="959751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21D546-E421-4B7C-800A-912CA36AD2AB}">
      <dsp:nvSpPr>
        <dsp:cNvPr id="0" name=""/>
        <dsp:cNvSpPr/>
      </dsp:nvSpPr>
      <dsp:spPr>
        <a:xfrm>
          <a:off x="1146976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еры стимулирования </a:t>
          </a:r>
        </a:p>
      </dsp:txBody>
      <dsp:txXfrm>
        <a:off x="1174394" y="3539337"/>
        <a:ext cx="1442965" cy="881290"/>
      </dsp:txXfrm>
    </dsp:sp>
    <dsp:sp modelId="{2FDDF925-1E0B-4745-B9D1-B29B5648A2AC}">
      <dsp:nvSpPr>
        <dsp:cNvPr id="0" name=""/>
        <dsp:cNvSpPr/>
      </dsp:nvSpPr>
      <dsp:spPr>
        <a:xfrm>
          <a:off x="3112841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ОТДЕЛЫ ОБРАЗОВАНИЯ </a:t>
          </a:r>
        </a:p>
      </dsp:txBody>
      <dsp:txXfrm>
        <a:off x="3140259" y="28864"/>
        <a:ext cx="1817416" cy="881290"/>
      </dsp:txXfrm>
    </dsp:sp>
    <dsp:sp modelId="{9FCC163F-1AC2-4371-9B28-BD77D828B5D9}">
      <dsp:nvSpPr>
        <dsp:cNvPr id="0" name=""/>
        <dsp:cNvSpPr/>
      </dsp:nvSpPr>
      <dsp:spPr>
        <a:xfrm>
          <a:off x="3300066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0291C3-39DD-4F48-B048-456F7ADC60A5}">
      <dsp:nvSpPr>
        <dsp:cNvPr id="0" name=""/>
        <dsp:cNvSpPr/>
      </dsp:nvSpPr>
      <dsp:spPr>
        <a:xfrm>
          <a:off x="3487291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казы </a:t>
          </a:r>
        </a:p>
      </dsp:txBody>
      <dsp:txXfrm>
        <a:off x="3514709" y="1199022"/>
        <a:ext cx="1442965" cy="881290"/>
      </dsp:txXfrm>
    </dsp:sp>
    <dsp:sp modelId="{F3991B25-61A4-4699-B0D0-7BDC2A49AF8F}">
      <dsp:nvSpPr>
        <dsp:cNvPr id="0" name=""/>
        <dsp:cNvSpPr/>
      </dsp:nvSpPr>
      <dsp:spPr>
        <a:xfrm>
          <a:off x="3300066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8BF233-9890-41B1-A2B1-6032C010EC1D}">
      <dsp:nvSpPr>
        <dsp:cNvPr id="0" name=""/>
        <dsp:cNvSpPr/>
      </dsp:nvSpPr>
      <dsp:spPr>
        <a:xfrm>
          <a:off x="3487291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 Мероприятия </a:t>
          </a:r>
        </a:p>
      </dsp:txBody>
      <dsp:txXfrm>
        <a:off x="3514709" y="2369179"/>
        <a:ext cx="1442965" cy="881290"/>
      </dsp:txXfrm>
    </dsp:sp>
    <dsp:sp modelId="{B239569F-009D-4B9C-91C9-1267C37C1EE0}">
      <dsp:nvSpPr>
        <dsp:cNvPr id="0" name=""/>
        <dsp:cNvSpPr/>
      </dsp:nvSpPr>
      <dsp:spPr>
        <a:xfrm>
          <a:off x="3300066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DF6B96-A08B-49B3-84CE-2914930DB913}">
      <dsp:nvSpPr>
        <dsp:cNvPr id="0" name=""/>
        <dsp:cNvSpPr/>
      </dsp:nvSpPr>
      <dsp:spPr>
        <a:xfrm>
          <a:off x="3487291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еры стимулирования </a:t>
          </a:r>
        </a:p>
      </dsp:txBody>
      <dsp:txXfrm>
        <a:off x="3514709" y="3539337"/>
        <a:ext cx="1442965" cy="881290"/>
      </dsp:txXfrm>
    </dsp:sp>
    <dsp:sp modelId="{0A134B67-1241-432F-AF06-D36DD9409D92}">
      <dsp:nvSpPr>
        <dsp:cNvPr id="0" name=""/>
        <dsp:cNvSpPr/>
      </dsp:nvSpPr>
      <dsp:spPr>
        <a:xfrm>
          <a:off x="5453156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ОБРАЗОВАТЕЛЬНЫЕ ОРГАНИЗАЦИИ </a:t>
          </a:r>
        </a:p>
      </dsp:txBody>
      <dsp:txXfrm>
        <a:off x="5480574" y="28864"/>
        <a:ext cx="1817416" cy="881290"/>
      </dsp:txXfrm>
    </dsp:sp>
    <dsp:sp modelId="{3947553E-7746-4CD4-86C4-643FA8340D3A}">
      <dsp:nvSpPr>
        <dsp:cNvPr id="0" name=""/>
        <dsp:cNvSpPr/>
      </dsp:nvSpPr>
      <dsp:spPr>
        <a:xfrm>
          <a:off x="5640381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724489-4371-42A4-ADEB-7E3DBE411198}">
      <dsp:nvSpPr>
        <dsp:cNvPr id="0" name=""/>
        <dsp:cNvSpPr/>
      </dsp:nvSpPr>
      <dsp:spPr>
        <a:xfrm>
          <a:off x="5827606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казы </a:t>
          </a:r>
        </a:p>
      </dsp:txBody>
      <dsp:txXfrm>
        <a:off x="5855024" y="1199022"/>
        <a:ext cx="1442965" cy="881290"/>
      </dsp:txXfrm>
    </dsp:sp>
    <dsp:sp modelId="{FAB2EEE9-1364-43F4-ADB5-61AD0F6D1897}">
      <dsp:nvSpPr>
        <dsp:cNvPr id="0" name=""/>
        <dsp:cNvSpPr/>
      </dsp:nvSpPr>
      <dsp:spPr>
        <a:xfrm>
          <a:off x="5640381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782301-1ADA-4F39-9889-BD30124AA9AD}">
      <dsp:nvSpPr>
        <dsp:cNvPr id="0" name=""/>
        <dsp:cNvSpPr/>
      </dsp:nvSpPr>
      <dsp:spPr>
        <a:xfrm>
          <a:off x="5827606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 Мероприятия </a:t>
          </a:r>
        </a:p>
      </dsp:txBody>
      <dsp:txXfrm>
        <a:off x="5855024" y="2369179"/>
        <a:ext cx="1442965" cy="881290"/>
      </dsp:txXfrm>
    </dsp:sp>
    <dsp:sp modelId="{6EF9F805-6184-4017-9164-42CBA8CA4BA1}">
      <dsp:nvSpPr>
        <dsp:cNvPr id="0" name=""/>
        <dsp:cNvSpPr/>
      </dsp:nvSpPr>
      <dsp:spPr>
        <a:xfrm>
          <a:off x="5640381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DCC1DF-9613-4E18-991A-A61B5025DBC7}">
      <dsp:nvSpPr>
        <dsp:cNvPr id="0" name=""/>
        <dsp:cNvSpPr/>
      </dsp:nvSpPr>
      <dsp:spPr>
        <a:xfrm>
          <a:off x="5827606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еры стимулирования </a:t>
          </a:r>
        </a:p>
      </dsp:txBody>
      <dsp:txXfrm>
        <a:off x="5855024" y="3539337"/>
        <a:ext cx="1442965" cy="8812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274208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просвещения </a:t>
          </a:r>
        </a:p>
      </dsp:txBody>
      <dsp:txXfrm>
        <a:off x="274208" y="1486"/>
        <a:ext cx="1033933" cy="620360"/>
      </dsp:txXfrm>
    </dsp:sp>
    <dsp:sp modelId="{C461E2EB-1091-4432-9124-FFE2CC84EFFC}">
      <dsp:nvSpPr>
        <dsp:cNvPr id="0" name=""/>
        <dsp:cNvSpPr/>
      </dsp:nvSpPr>
      <dsp:spPr>
        <a:xfrm>
          <a:off x="1411535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Роспотребнадзор </a:t>
          </a:r>
        </a:p>
      </dsp:txBody>
      <dsp:txXfrm>
        <a:off x="1411535" y="1486"/>
        <a:ext cx="1033933" cy="620360"/>
      </dsp:txXfrm>
    </dsp:sp>
    <dsp:sp modelId="{382114AE-60D0-4A4F-B6F6-9B85973A8774}">
      <dsp:nvSpPr>
        <dsp:cNvPr id="0" name=""/>
        <dsp:cNvSpPr/>
      </dsp:nvSpPr>
      <dsp:spPr>
        <a:xfrm>
          <a:off x="2548862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Росздравнадзор</a:t>
          </a:r>
          <a:r>
            <a:rPr lang="ru-RU" sz="900" b="1" kern="1200" dirty="0">
              <a:solidFill>
                <a:schemeClr val="bg1"/>
              </a:solidFill>
            </a:rPr>
            <a:t> </a:t>
          </a:r>
        </a:p>
      </dsp:txBody>
      <dsp:txXfrm>
        <a:off x="2548862" y="1486"/>
        <a:ext cx="1033933" cy="620360"/>
      </dsp:txXfrm>
    </dsp:sp>
    <dsp:sp modelId="{800B0D4C-01CE-496E-9B29-5D6A394B0567}">
      <dsp:nvSpPr>
        <dsp:cNvPr id="0" name=""/>
        <dsp:cNvSpPr/>
      </dsp:nvSpPr>
      <dsp:spPr>
        <a:xfrm>
          <a:off x="274208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ЧС</a:t>
          </a:r>
        </a:p>
      </dsp:txBody>
      <dsp:txXfrm>
        <a:off x="274208" y="725239"/>
        <a:ext cx="1033933" cy="620360"/>
      </dsp:txXfrm>
    </dsp:sp>
    <dsp:sp modelId="{066996AF-BEC6-4EFD-B29F-8B9B79FE82E7}">
      <dsp:nvSpPr>
        <dsp:cNvPr id="0" name=""/>
        <dsp:cNvSpPr/>
      </dsp:nvSpPr>
      <dsp:spPr>
        <a:xfrm>
          <a:off x="1411535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ВД</a:t>
          </a:r>
        </a:p>
      </dsp:txBody>
      <dsp:txXfrm>
        <a:off x="1411535" y="725239"/>
        <a:ext cx="1033933" cy="620360"/>
      </dsp:txXfrm>
    </dsp:sp>
    <dsp:sp modelId="{5B1F2A19-3198-46C5-8152-E080C2D3E6EE}">
      <dsp:nvSpPr>
        <dsp:cNvPr id="0" name=""/>
        <dsp:cNvSpPr/>
      </dsp:nvSpPr>
      <dsp:spPr>
        <a:xfrm>
          <a:off x="2548862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обрнауки</a:t>
          </a:r>
        </a:p>
      </dsp:txBody>
      <dsp:txXfrm>
        <a:off x="2548862" y="725239"/>
        <a:ext cx="1033933" cy="620360"/>
      </dsp:txXfrm>
    </dsp:sp>
    <dsp:sp modelId="{A4E3B9CF-90B1-4614-A586-5F4285669115}">
      <dsp:nvSpPr>
        <dsp:cNvPr id="0" name=""/>
        <dsp:cNvSpPr/>
      </dsp:nvSpPr>
      <dsp:spPr>
        <a:xfrm>
          <a:off x="274208" y="1448993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обрнауки</a:t>
          </a:r>
          <a:r>
            <a:rPr lang="ru-RU" sz="900" b="1" kern="1200" baseline="0" dirty="0">
              <a:solidFill>
                <a:schemeClr val="tx1"/>
              </a:solidFill>
            </a:rPr>
            <a:t> </a:t>
          </a:r>
          <a:endParaRPr lang="ru-RU" sz="900" b="1" kern="1200" dirty="0">
            <a:solidFill>
              <a:schemeClr val="tx1"/>
            </a:solidFill>
          </a:endParaRPr>
        </a:p>
      </dsp:txBody>
      <dsp:txXfrm>
        <a:off x="274208" y="1448993"/>
        <a:ext cx="1033933" cy="620360"/>
      </dsp:txXfrm>
    </dsp:sp>
    <dsp:sp modelId="{B67FF79F-D78B-433F-BB5F-693FAB067492}">
      <dsp:nvSpPr>
        <dsp:cNvPr id="0" name=""/>
        <dsp:cNvSpPr/>
      </dsp:nvSpPr>
      <dsp:spPr>
        <a:xfrm>
          <a:off x="1411535" y="145047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Госдума </a:t>
          </a:r>
        </a:p>
      </dsp:txBody>
      <dsp:txXfrm>
        <a:off x="1411535" y="1450479"/>
        <a:ext cx="1033933" cy="620360"/>
      </dsp:txXfrm>
    </dsp:sp>
    <dsp:sp modelId="{5399572E-D72C-4373-90F7-2A25A1A0739E}">
      <dsp:nvSpPr>
        <dsp:cNvPr id="0" name=""/>
        <dsp:cNvSpPr/>
      </dsp:nvSpPr>
      <dsp:spPr>
        <a:xfrm>
          <a:off x="2548862" y="1448993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Банки</a:t>
          </a:r>
        </a:p>
      </dsp:txBody>
      <dsp:txXfrm>
        <a:off x="2548862" y="1448993"/>
        <a:ext cx="1033933" cy="6203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EE444-6910-4ABB-8299-E5B26AEAB7E2}">
      <dsp:nvSpPr>
        <dsp:cNvPr id="0" name=""/>
        <dsp:cNvSpPr/>
      </dsp:nvSpPr>
      <dsp:spPr>
        <a:xfrm>
          <a:off x="1029" y="333946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Учитель, воспитатель </a:t>
          </a:r>
        </a:p>
      </dsp:txBody>
      <dsp:txXfrm>
        <a:off x="414014" y="333946"/>
        <a:ext cx="1238955" cy="825970"/>
      </dsp:txXfrm>
    </dsp:sp>
    <dsp:sp modelId="{5CC7C8CF-9FB5-4512-BCB1-1651EC5B82F9}">
      <dsp:nvSpPr>
        <dsp:cNvPr id="0" name=""/>
        <dsp:cNvSpPr/>
      </dsp:nvSpPr>
      <dsp:spPr>
        <a:xfrm>
          <a:off x="1797514" y="404153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Более 50 документов </a:t>
          </a:r>
        </a:p>
      </dsp:txBody>
      <dsp:txXfrm>
        <a:off x="2140292" y="404153"/>
        <a:ext cx="1028332" cy="685555"/>
      </dsp:txXfrm>
    </dsp:sp>
    <dsp:sp modelId="{35908F70-0B31-4F04-840E-75F6CF283F59}">
      <dsp:nvSpPr>
        <dsp:cNvPr id="0" name=""/>
        <dsp:cNvSpPr/>
      </dsp:nvSpPr>
      <dsp:spPr>
        <a:xfrm>
          <a:off x="1029" y="1275552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Образовательные</a:t>
          </a:r>
          <a:r>
            <a:rPr lang="ru-RU" sz="1200" kern="1200" baseline="0" dirty="0"/>
            <a:t> организации </a:t>
          </a:r>
          <a:endParaRPr lang="ru-RU" sz="1200" kern="1200" dirty="0"/>
        </a:p>
      </dsp:txBody>
      <dsp:txXfrm>
        <a:off x="414014" y="1275552"/>
        <a:ext cx="1238955" cy="825970"/>
      </dsp:txXfrm>
    </dsp:sp>
    <dsp:sp modelId="{F3D38F91-FD15-45E8-BB06-B0B1ED6951A1}">
      <dsp:nvSpPr>
        <dsp:cNvPr id="0" name=""/>
        <dsp:cNvSpPr/>
      </dsp:nvSpPr>
      <dsp:spPr>
        <a:xfrm>
          <a:off x="1797514" y="1345759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Более 250 писем в месяц </a:t>
          </a:r>
        </a:p>
      </dsp:txBody>
      <dsp:txXfrm>
        <a:off x="2140292" y="1345759"/>
        <a:ext cx="1028332" cy="685555"/>
      </dsp:txXfrm>
    </dsp:sp>
    <dsp:sp modelId="{0BF4964F-FDBA-43B6-8059-0B576EC90ECE}">
      <dsp:nvSpPr>
        <dsp:cNvPr id="0" name=""/>
        <dsp:cNvSpPr/>
      </dsp:nvSpPr>
      <dsp:spPr>
        <a:xfrm>
          <a:off x="1029" y="2217158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РОИВ</a:t>
          </a:r>
        </a:p>
      </dsp:txBody>
      <dsp:txXfrm>
        <a:off x="414014" y="2217158"/>
        <a:ext cx="1238955" cy="825970"/>
      </dsp:txXfrm>
    </dsp:sp>
    <dsp:sp modelId="{15DC17A0-52AF-483C-947B-3CFC09969B4F}">
      <dsp:nvSpPr>
        <dsp:cNvPr id="0" name=""/>
        <dsp:cNvSpPr/>
      </dsp:nvSpPr>
      <dsp:spPr>
        <a:xfrm>
          <a:off x="1797514" y="2287365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750 – 3500 писем в месяц </a:t>
          </a:r>
        </a:p>
      </dsp:txBody>
      <dsp:txXfrm>
        <a:off x="2140292" y="2287365"/>
        <a:ext cx="1028332" cy="68555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101531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 </a:t>
          </a:r>
          <a:r>
            <a:rPr lang="ru-RU" sz="900" b="1" kern="1200" dirty="0">
              <a:solidFill>
                <a:schemeClr val="tx1"/>
              </a:solidFill>
            </a:rPr>
            <a:t>Министерство (управление) образования </a:t>
          </a:r>
        </a:p>
      </dsp:txBody>
      <dsp:txXfrm>
        <a:off x="101531" y="1242"/>
        <a:ext cx="1034177" cy="620506"/>
      </dsp:txXfrm>
    </dsp:sp>
    <dsp:sp modelId="{C461E2EB-1091-4432-9124-FFE2CC84EFFC}">
      <dsp:nvSpPr>
        <dsp:cNvPr id="0" name=""/>
        <dsp:cNvSpPr/>
      </dsp:nvSpPr>
      <dsp:spPr>
        <a:xfrm>
          <a:off x="1239126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 </a:t>
          </a:r>
          <a:r>
            <a:rPr lang="ru-RU" sz="900" b="1" kern="1200" dirty="0">
              <a:solidFill>
                <a:schemeClr val="tx1"/>
              </a:solidFill>
            </a:rPr>
            <a:t>Районные отделы образования </a:t>
          </a:r>
        </a:p>
      </dsp:txBody>
      <dsp:txXfrm>
        <a:off x="1239126" y="1242"/>
        <a:ext cx="1034177" cy="620506"/>
      </dsp:txXfrm>
    </dsp:sp>
    <dsp:sp modelId="{382114AE-60D0-4A4F-B6F6-9B85973A8774}">
      <dsp:nvSpPr>
        <dsp:cNvPr id="0" name=""/>
        <dsp:cNvSpPr/>
      </dsp:nvSpPr>
      <dsp:spPr>
        <a:xfrm>
          <a:off x="2376722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ИРО, ИПК</a:t>
          </a:r>
        </a:p>
      </dsp:txBody>
      <dsp:txXfrm>
        <a:off x="2376722" y="1242"/>
        <a:ext cx="1034177" cy="620506"/>
      </dsp:txXfrm>
    </dsp:sp>
    <dsp:sp modelId="{800B0D4C-01CE-496E-9B29-5D6A394B0567}">
      <dsp:nvSpPr>
        <dsp:cNvPr id="0" name=""/>
        <dsp:cNvSpPr/>
      </dsp:nvSpPr>
      <dsp:spPr>
        <a:xfrm>
          <a:off x="101531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КДН</a:t>
          </a:r>
        </a:p>
      </dsp:txBody>
      <dsp:txXfrm>
        <a:off x="101531" y="725166"/>
        <a:ext cx="1034177" cy="620506"/>
      </dsp:txXfrm>
    </dsp:sp>
    <dsp:sp modelId="{066996AF-BEC6-4EFD-B29F-8B9B79FE82E7}">
      <dsp:nvSpPr>
        <dsp:cNvPr id="0" name=""/>
        <dsp:cNvSpPr/>
      </dsp:nvSpPr>
      <dsp:spPr>
        <a:xfrm>
          <a:off x="1239126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Прокуратура  </a:t>
          </a:r>
        </a:p>
      </dsp:txBody>
      <dsp:txXfrm>
        <a:off x="1239126" y="725166"/>
        <a:ext cx="1034177" cy="620506"/>
      </dsp:txXfrm>
    </dsp:sp>
    <dsp:sp modelId="{5B1F2A19-3198-46C5-8152-E080C2D3E6EE}">
      <dsp:nvSpPr>
        <dsp:cNvPr id="0" name=""/>
        <dsp:cNvSpPr/>
      </dsp:nvSpPr>
      <dsp:spPr>
        <a:xfrm>
          <a:off x="2376722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АНО </a:t>
          </a:r>
        </a:p>
      </dsp:txBody>
      <dsp:txXfrm>
        <a:off x="2376722" y="725166"/>
        <a:ext cx="1034177" cy="620506"/>
      </dsp:txXfrm>
    </dsp:sp>
    <dsp:sp modelId="{A4E3B9CF-90B1-4614-A586-5F4285669115}">
      <dsp:nvSpPr>
        <dsp:cNvPr id="0" name=""/>
        <dsp:cNvSpPr/>
      </dsp:nvSpPr>
      <dsp:spPr>
        <a:xfrm>
          <a:off x="90496" y="144927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истерство здравоохранения </a:t>
          </a:r>
        </a:p>
      </dsp:txBody>
      <dsp:txXfrm>
        <a:off x="90496" y="1449271"/>
        <a:ext cx="1034177" cy="620506"/>
      </dsp:txXfrm>
    </dsp:sp>
    <dsp:sp modelId="{B67FF79F-D78B-433F-BB5F-693FAB067492}">
      <dsp:nvSpPr>
        <dsp:cNvPr id="0" name=""/>
        <dsp:cNvSpPr/>
      </dsp:nvSpPr>
      <dsp:spPr>
        <a:xfrm>
          <a:off x="1239126" y="144909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Уполномоченный по правам ребенка региона </a:t>
          </a:r>
        </a:p>
      </dsp:txBody>
      <dsp:txXfrm>
        <a:off x="1239126" y="1449091"/>
        <a:ext cx="1034177" cy="620506"/>
      </dsp:txXfrm>
    </dsp:sp>
    <dsp:sp modelId="{5399572E-D72C-4373-90F7-2A25A1A0739E}">
      <dsp:nvSpPr>
        <dsp:cNvPr id="0" name=""/>
        <dsp:cNvSpPr/>
      </dsp:nvSpPr>
      <dsp:spPr>
        <a:xfrm>
          <a:off x="2376722" y="144909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Региональные образовательные и иные центры </a:t>
          </a:r>
        </a:p>
      </dsp:txBody>
      <dsp:txXfrm>
        <a:off x="2376722" y="1449091"/>
        <a:ext cx="1034177" cy="6205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362C9C-E33D-4AEA-99AA-6DAABF4C3921}">
      <dsp:nvSpPr>
        <dsp:cNvPr id="0" name=""/>
        <dsp:cNvSpPr/>
      </dsp:nvSpPr>
      <dsp:spPr>
        <a:xfrm rot="5400000">
          <a:off x="4296027" y="-1509571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9 областей качества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95 показателей </a:t>
          </a:r>
        </a:p>
      </dsp:txBody>
      <dsp:txXfrm rot="-5400000">
        <a:off x="2620519" y="229773"/>
        <a:ext cx="4594864" cy="1180011"/>
      </dsp:txXfrm>
    </dsp:sp>
    <dsp:sp modelId="{C7A395E7-8F2E-405A-B78C-CC1C8125B959}">
      <dsp:nvSpPr>
        <dsp:cNvPr id="0" name=""/>
        <dsp:cNvSpPr/>
      </dsp:nvSpPr>
      <dsp:spPr>
        <a:xfrm>
          <a:off x="0" y="2476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kern="1200" dirty="0">
              <a:solidFill>
                <a:schemeClr val="tx1"/>
              </a:solidFill>
            </a:rPr>
            <a:t>МКДО</a:t>
          </a:r>
        </a:p>
      </dsp:txBody>
      <dsp:txXfrm>
        <a:off x="79795" y="82271"/>
        <a:ext cx="2460929" cy="1475014"/>
      </dsp:txXfrm>
    </dsp:sp>
    <dsp:sp modelId="{5969DDA4-4B0F-4B23-8043-2981EC5619B6}">
      <dsp:nvSpPr>
        <dsp:cNvPr id="0" name=""/>
        <dsp:cNvSpPr/>
      </dsp:nvSpPr>
      <dsp:spPr>
        <a:xfrm rot="5400000">
          <a:off x="4296027" y="206763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1014570"/>
              <a:satOff val="50000"/>
              <a:lumOff val="8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2 направления 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20 показателей </a:t>
          </a:r>
        </a:p>
      </dsp:txBody>
      <dsp:txXfrm rot="-5400000">
        <a:off x="2620519" y="1946107"/>
        <a:ext cx="4594864" cy="1180011"/>
      </dsp:txXfrm>
    </dsp:sp>
    <dsp:sp modelId="{3C9C8522-CF6E-4683-81E0-70ACF2C15935}">
      <dsp:nvSpPr>
        <dsp:cNvPr id="0" name=""/>
        <dsp:cNvSpPr/>
      </dsp:nvSpPr>
      <dsp:spPr>
        <a:xfrm>
          <a:off x="0" y="1718811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Федеральные показатели самообследования </a:t>
          </a:r>
        </a:p>
      </dsp:txBody>
      <dsp:txXfrm>
        <a:off x="79795" y="1798606"/>
        <a:ext cx="2460929" cy="1475014"/>
      </dsp:txXfrm>
    </dsp:sp>
    <dsp:sp modelId="{7C32EAF7-EFA4-497E-91D3-6E81D633B1D9}">
      <dsp:nvSpPr>
        <dsp:cNvPr id="0" name=""/>
        <dsp:cNvSpPr/>
      </dsp:nvSpPr>
      <dsp:spPr>
        <a:xfrm rot="5400000">
          <a:off x="4296027" y="1923098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2029141"/>
              <a:satOff val="100000"/>
              <a:lumOff val="177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5 направлений 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250 показателей </a:t>
          </a:r>
        </a:p>
      </dsp:txBody>
      <dsp:txXfrm rot="-5400000">
        <a:off x="2620519" y="3662442"/>
        <a:ext cx="4594864" cy="1180011"/>
      </dsp:txXfrm>
    </dsp:sp>
    <dsp:sp modelId="{DF9CD06B-8EED-4137-884E-1A6274343987}">
      <dsp:nvSpPr>
        <dsp:cNvPr id="0" name=""/>
        <dsp:cNvSpPr/>
      </dsp:nvSpPr>
      <dsp:spPr>
        <a:xfrm>
          <a:off x="0" y="3435146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Региональные показатели самообследования </a:t>
          </a:r>
        </a:p>
      </dsp:txBody>
      <dsp:txXfrm>
        <a:off x="79795" y="3514941"/>
        <a:ext cx="2460929" cy="147501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82AC70-8BD5-4F78-AA88-F0EE4A6655A1}">
      <dsp:nvSpPr>
        <dsp:cNvPr id="0" name=""/>
        <dsp:cNvSpPr/>
      </dsp:nvSpPr>
      <dsp:spPr>
        <a:xfrm>
          <a:off x="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Запросы  </a:t>
          </a:r>
        </a:p>
      </dsp:txBody>
      <dsp:txXfrm>
        <a:off x="0" y="350451"/>
        <a:ext cx="2793999" cy="1676399"/>
      </dsp:txXfrm>
    </dsp:sp>
    <dsp:sp modelId="{FB071589-518A-4736-9871-4B1D04C338AC}">
      <dsp:nvSpPr>
        <dsp:cNvPr id="0" name=""/>
        <dsp:cNvSpPr/>
      </dsp:nvSpPr>
      <dsp:spPr>
        <a:xfrm>
          <a:off x="307340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Мониторинги </a:t>
          </a:r>
        </a:p>
      </dsp:txBody>
      <dsp:txXfrm>
        <a:off x="3073400" y="350451"/>
        <a:ext cx="2793999" cy="1676399"/>
      </dsp:txXfrm>
    </dsp:sp>
    <dsp:sp modelId="{1BA86FF7-7F9B-4BBB-84C3-084386C30850}">
      <dsp:nvSpPr>
        <dsp:cNvPr id="0" name=""/>
        <dsp:cNvSpPr/>
      </dsp:nvSpPr>
      <dsp:spPr>
        <a:xfrm>
          <a:off x="614680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четких требований к перечню методических материалов </a:t>
          </a:r>
        </a:p>
      </dsp:txBody>
      <dsp:txXfrm>
        <a:off x="6146800" y="350451"/>
        <a:ext cx="2793999" cy="1676399"/>
      </dsp:txXfrm>
    </dsp:sp>
    <dsp:sp modelId="{0C8977CC-3A40-4F4E-A3F2-277102377721}">
      <dsp:nvSpPr>
        <dsp:cNvPr id="0" name=""/>
        <dsp:cNvSpPr/>
      </dsp:nvSpPr>
      <dsp:spPr>
        <a:xfrm>
          <a:off x="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типовых форм документов </a:t>
          </a:r>
        </a:p>
      </dsp:txBody>
      <dsp:txXfrm>
        <a:off x="0" y="2306251"/>
        <a:ext cx="2793999" cy="1676399"/>
      </dsp:txXfrm>
    </dsp:sp>
    <dsp:sp modelId="{70967518-B044-4505-9C99-4015467C040F}">
      <dsp:nvSpPr>
        <dsp:cNvPr id="0" name=""/>
        <dsp:cNvSpPr/>
      </dsp:nvSpPr>
      <dsp:spPr>
        <a:xfrm>
          <a:off x="307340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четких рамок функционала </a:t>
          </a:r>
        </a:p>
      </dsp:txBody>
      <dsp:txXfrm>
        <a:off x="3073400" y="2306251"/>
        <a:ext cx="2793999" cy="1676399"/>
      </dsp:txXfrm>
    </dsp:sp>
    <dsp:sp modelId="{AF0A9284-7A9A-4BF2-8187-422DFE74B909}">
      <dsp:nvSpPr>
        <dsp:cNvPr id="0" name=""/>
        <dsp:cNvSpPr/>
      </dsp:nvSpPr>
      <dsp:spPr>
        <a:xfrm>
          <a:off x="614680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Дублирование и отсутствие интеграции информационных систем </a:t>
          </a:r>
        </a:p>
      </dsp:txBody>
      <dsp:txXfrm>
        <a:off x="6146800" y="2306251"/>
        <a:ext cx="2793999" cy="167639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C65F02-514C-4042-8515-D78F1B59D8FA}">
      <dsp:nvSpPr>
        <dsp:cNvPr id="0" name=""/>
        <dsp:cNvSpPr/>
      </dsp:nvSpPr>
      <dsp:spPr>
        <a:xfrm>
          <a:off x="14986" y="287989"/>
          <a:ext cx="2795984" cy="167759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Большинство документов не требуется ни федеральными, ни региональными НПА</a:t>
          </a:r>
        </a:p>
      </dsp:txBody>
      <dsp:txXfrm>
        <a:off x="14986" y="287989"/>
        <a:ext cx="2795984" cy="1677590"/>
      </dsp:txXfrm>
    </dsp:sp>
    <dsp:sp modelId="{C36760A6-51FB-4ABA-BEE1-F4ECAE03D78F}">
      <dsp:nvSpPr>
        <dsp:cNvPr id="0" name=""/>
        <dsp:cNvSpPr/>
      </dsp:nvSpPr>
      <dsp:spPr>
        <a:xfrm>
          <a:off x="3083076" y="295488"/>
          <a:ext cx="2795984" cy="167759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Рособрнадзор не требует никаких отчетов </a:t>
          </a:r>
        </a:p>
      </dsp:txBody>
      <dsp:txXfrm>
        <a:off x="3083076" y="295488"/>
        <a:ext cx="2795984" cy="1677590"/>
      </dsp:txXfrm>
    </dsp:sp>
    <dsp:sp modelId="{DB71A68C-85B7-44F9-8BA7-57C03B5F13F6}">
      <dsp:nvSpPr>
        <dsp:cNvPr id="0" name=""/>
        <dsp:cNvSpPr/>
      </dsp:nvSpPr>
      <dsp:spPr>
        <a:xfrm>
          <a:off x="6151165" y="280491"/>
          <a:ext cx="2795984" cy="167759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Большинство документов никак не влияют на качество образования </a:t>
          </a:r>
        </a:p>
      </dsp:txBody>
      <dsp:txXfrm>
        <a:off x="6151165" y="280491"/>
        <a:ext cx="2795984" cy="1677590"/>
      </dsp:txXfrm>
    </dsp:sp>
    <dsp:sp modelId="{DEB48BFF-5BEE-4E49-9A41-DB679DBA044A}">
      <dsp:nvSpPr>
        <dsp:cNvPr id="0" name=""/>
        <dsp:cNvSpPr/>
      </dsp:nvSpPr>
      <dsp:spPr>
        <a:xfrm>
          <a:off x="0" y="2237680"/>
          <a:ext cx="2795984" cy="167759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Региональные министерства образования не владеют  информацией об отчетах, которые готовит школа для разных ведомств</a:t>
          </a:r>
        </a:p>
      </dsp:txBody>
      <dsp:txXfrm>
        <a:off x="0" y="2237680"/>
        <a:ext cx="2795984" cy="1677590"/>
      </dsp:txXfrm>
    </dsp:sp>
    <dsp:sp modelId="{134D8485-4931-40DB-89CB-63F60C79B406}">
      <dsp:nvSpPr>
        <dsp:cNvPr id="0" name=""/>
        <dsp:cNvSpPr/>
      </dsp:nvSpPr>
      <dsp:spPr>
        <a:xfrm>
          <a:off x="3075582" y="2237680"/>
          <a:ext cx="2795984" cy="167759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Излишнюю бюрократическую загруженность учителя порождают Региональные и внутришкольные системы оценки качества образования и мониторинги</a:t>
          </a:r>
        </a:p>
      </dsp:txBody>
      <dsp:txXfrm>
        <a:off x="3075582" y="2237680"/>
        <a:ext cx="2795984" cy="1677590"/>
      </dsp:txXfrm>
    </dsp:sp>
    <dsp:sp modelId="{8D059ABE-951E-4C2E-B619-5592840F17B5}">
      <dsp:nvSpPr>
        <dsp:cNvPr id="0" name=""/>
        <dsp:cNvSpPr/>
      </dsp:nvSpPr>
      <dsp:spPr>
        <a:xfrm>
          <a:off x="6151165" y="2237680"/>
          <a:ext cx="2795984" cy="167759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Основной причиной запросов является отсутствие внутри- и межведомственная интеграции информационных систем</a:t>
          </a:r>
        </a:p>
      </dsp:txBody>
      <dsp:txXfrm>
        <a:off x="6151165" y="2237680"/>
        <a:ext cx="2795984" cy="16775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B3F5B3-FB12-4ADC-9552-B9F6404F78D4}">
      <dsp:nvSpPr>
        <dsp:cNvPr id="0" name=""/>
        <dsp:cNvSpPr/>
      </dsp:nvSpPr>
      <dsp:spPr>
        <a:xfrm>
          <a:off x="997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Федеральный уровень </a:t>
          </a:r>
        </a:p>
      </dsp:txBody>
      <dsp:txXfrm>
        <a:off x="997" y="0"/>
        <a:ext cx="2593960" cy="956238"/>
      </dsp:txXfrm>
    </dsp:sp>
    <dsp:sp modelId="{50ABF2AD-B33F-449A-A52C-6E778A7C7A68}">
      <dsp:nvSpPr>
        <dsp:cNvPr id="0" name=""/>
        <dsp:cNvSpPr/>
      </dsp:nvSpPr>
      <dsp:spPr>
        <a:xfrm>
          <a:off x="260393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solidFill>
                <a:schemeClr val="tx1"/>
              </a:solidFill>
            </a:rPr>
            <a:t> Сбор большого количества данных (мониторинги и ИС)</a:t>
          </a:r>
        </a:p>
      </dsp:txBody>
      <dsp:txXfrm>
        <a:off x="288542" y="985321"/>
        <a:ext cx="2018870" cy="904765"/>
      </dsp:txXfrm>
    </dsp:sp>
    <dsp:sp modelId="{32FD1BB4-6973-4F76-A8F9-4114413FC20B}">
      <dsp:nvSpPr>
        <dsp:cNvPr id="0" name=""/>
        <dsp:cNvSpPr/>
      </dsp:nvSpPr>
      <dsp:spPr>
        <a:xfrm>
          <a:off x="260393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60960" rIns="8128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solidFill>
                <a:schemeClr val="tx1"/>
              </a:solidFill>
            </a:rPr>
            <a:t>Запросы </a:t>
          </a:r>
        </a:p>
      </dsp:txBody>
      <dsp:txXfrm>
        <a:off x="288542" y="2094241"/>
        <a:ext cx="2018870" cy="904765"/>
      </dsp:txXfrm>
    </dsp:sp>
    <dsp:sp modelId="{D7D7E2EB-1607-4954-9C84-FC9844DD7A83}">
      <dsp:nvSpPr>
        <dsp:cNvPr id="0" name=""/>
        <dsp:cNvSpPr/>
      </dsp:nvSpPr>
      <dsp:spPr>
        <a:xfrm>
          <a:off x="2789505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Региональный уровень </a:t>
          </a:r>
        </a:p>
      </dsp:txBody>
      <dsp:txXfrm>
        <a:off x="2789505" y="0"/>
        <a:ext cx="2593960" cy="956238"/>
      </dsp:txXfrm>
    </dsp:sp>
    <dsp:sp modelId="{3776E125-FE25-4D0B-A65A-E95AB71DFCE5}">
      <dsp:nvSpPr>
        <dsp:cNvPr id="0" name=""/>
        <dsp:cNvSpPr/>
      </dsp:nvSpPr>
      <dsp:spPr>
        <a:xfrm>
          <a:off x="3048901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>
              <a:solidFill>
                <a:schemeClr val="tx1"/>
              </a:solidFill>
            </a:rPr>
            <a:t>Сбор большого количества данных (мониторинги и ИС)</a:t>
          </a:r>
          <a:endParaRPr lang="ru-RU" sz="1700" b="1" kern="1200" dirty="0">
            <a:solidFill>
              <a:schemeClr val="tx1"/>
            </a:solidFill>
          </a:endParaRPr>
        </a:p>
      </dsp:txBody>
      <dsp:txXfrm>
        <a:off x="3077050" y="985321"/>
        <a:ext cx="2018870" cy="904765"/>
      </dsp:txXfrm>
    </dsp:sp>
    <dsp:sp modelId="{F5C6162B-22DD-404F-A9F6-D8D10B04EF6A}">
      <dsp:nvSpPr>
        <dsp:cNvPr id="0" name=""/>
        <dsp:cNvSpPr/>
      </dsp:nvSpPr>
      <dsp:spPr>
        <a:xfrm>
          <a:off x="3048901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60960" rIns="8128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solidFill>
                <a:schemeClr val="tx1"/>
              </a:solidFill>
            </a:rPr>
            <a:t>Запросы </a:t>
          </a:r>
        </a:p>
      </dsp:txBody>
      <dsp:txXfrm>
        <a:off x="3077050" y="2094241"/>
        <a:ext cx="2018870" cy="904765"/>
      </dsp:txXfrm>
    </dsp:sp>
    <dsp:sp modelId="{4EA7DD2E-6DF0-4829-810D-25011906D1C2}">
      <dsp:nvSpPr>
        <dsp:cNvPr id="0" name=""/>
        <dsp:cNvSpPr/>
      </dsp:nvSpPr>
      <dsp:spPr>
        <a:xfrm>
          <a:off x="5578012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Локальный уровень</a:t>
          </a:r>
          <a:r>
            <a:rPr lang="ru-RU" sz="2600" kern="1200" baseline="0" dirty="0"/>
            <a:t> </a:t>
          </a:r>
          <a:endParaRPr lang="ru-RU" sz="2600" kern="1200" dirty="0"/>
        </a:p>
      </dsp:txBody>
      <dsp:txXfrm>
        <a:off x="5578012" y="0"/>
        <a:ext cx="2593960" cy="956238"/>
      </dsp:txXfrm>
    </dsp:sp>
    <dsp:sp modelId="{7C4C355C-BC27-4CB7-A7C2-0BCF2405CFBB}">
      <dsp:nvSpPr>
        <dsp:cNvPr id="0" name=""/>
        <dsp:cNvSpPr/>
      </dsp:nvSpPr>
      <dsp:spPr>
        <a:xfrm>
          <a:off x="5837408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>
            <a:solidFill>
              <a:schemeClr val="bg1"/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1"/>
              </a:solidFill>
            </a:rPr>
            <a:t>АУП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>
            <a:solidFill>
              <a:schemeClr val="bg1"/>
            </a:solidFill>
          </a:endParaRPr>
        </a:p>
      </dsp:txBody>
      <dsp:txXfrm>
        <a:off x="5865557" y="985321"/>
        <a:ext cx="2018870" cy="904765"/>
      </dsp:txXfrm>
    </dsp:sp>
    <dsp:sp modelId="{65197ABA-D384-40A9-8875-09BFEADA7321}">
      <dsp:nvSpPr>
        <dsp:cNvPr id="0" name=""/>
        <dsp:cNvSpPr/>
      </dsp:nvSpPr>
      <dsp:spPr>
        <a:xfrm>
          <a:off x="5837408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Педработники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sp:txBody>
      <dsp:txXfrm>
        <a:off x="5865557" y="2094241"/>
        <a:ext cx="2018870" cy="90476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44C90-E2EA-4BC4-A4A3-3C0EB7F3951C}">
      <dsp:nvSpPr>
        <dsp:cNvPr id="0" name=""/>
        <dsp:cNvSpPr/>
      </dsp:nvSpPr>
      <dsp:spPr>
        <a:xfrm>
          <a:off x="618061" y="0"/>
          <a:ext cx="7004691" cy="431019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570F700-2951-4DB2-A233-A00B1F52E211}">
      <dsp:nvSpPr>
        <dsp:cNvPr id="0" name=""/>
        <dsp:cNvSpPr/>
      </dsp:nvSpPr>
      <dsp:spPr>
        <a:xfrm>
          <a:off x="4124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нижение объема документации</a:t>
          </a:r>
        </a:p>
      </dsp:txBody>
      <dsp:txXfrm>
        <a:off x="88287" y="1377220"/>
        <a:ext cx="1815424" cy="1555751"/>
      </dsp:txXfrm>
    </dsp:sp>
    <dsp:sp modelId="{73CD7F6F-5C8D-4CE1-9EB9-B9134D4100E9}">
      <dsp:nvSpPr>
        <dsp:cNvPr id="0" name=""/>
        <dsp:cNvSpPr/>
      </dsp:nvSpPr>
      <dsp:spPr>
        <a:xfrm>
          <a:off x="2087062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нижение объема мониторингов </a:t>
          </a:r>
        </a:p>
      </dsp:txBody>
      <dsp:txXfrm>
        <a:off x="2171225" y="1377220"/>
        <a:ext cx="1815424" cy="1555751"/>
      </dsp:txXfrm>
    </dsp:sp>
    <dsp:sp modelId="{2FCF2879-2DEC-45E0-8723-BFF92A221EAB}">
      <dsp:nvSpPr>
        <dsp:cNvPr id="0" name=""/>
        <dsp:cNvSpPr/>
      </dsp:nvSpPr>
      <dsp:spPr>
        <a:xfrm>
          <a:off x="4170000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Оптимизация и интеграция  информационных систем </a:t>
          </a:r>
        </a:p>
      </dsp:txBody>
      <dsp:txXfrm>
        <a:off x="4254163" y="1377220"/>
        <a:ext cx="1815424" cy="1555751"/>
      </dsp:txXfrm>
    </dsp:sp>
    <dsp:sp modelId="{3AA569DE-2B99-4A3F-B54D-21428893EBE0}">
      <dsp:nvSpPr>
        <dsp:cNvPr id="0" name=""/>
        <dsp:cNvSpPr/>
      </dsp:nvSpPr>
      <dsp:spPr>
        <a:xfrm>
          <a:off x="6252938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нижение количества запросов </a:t>
          </a:r>
        </a:p>
      </dsp:txBody>
      <dsp:txXfrm>
        <a:off x="6337101" y="1377220"/>
        <a:ext cx="1815424" cy="15557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23CA0-DC6A-4E22-BDED-7EF65F541CE8}" type="datetimeFigureOut">
              <a:rPr lang="ru-RU" smtClean="0"/>
              <a:t>21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A343DE-2F37-49F6-AB86-5673E47094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791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473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38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452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392909" y="570"/>
            <a:ext cx="1234533" cy="1028931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592" y="214854"/>
            <a:ext cx="726514" cy="52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42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5604774" y="0"/>
            <a:ext cx="65872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0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9600000" y="7"/>
            <a:ext cx="1090821" cy="859156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690826" y="7"/>
            <a:ext cx="1501180" cy="8591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870659" y="141294"/>
            <a:ext cx="1321342" cy="5623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952786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678139" y="7"/>
            <a:ext cx="1090821" cy="859156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768965" y="7"/>
            <a:ext cx="2423041" cy="85915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68966" y="141294"/>
            <a:ext cx="2423041" cy="56238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3539655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297980" y="7"/>
            <a:ext cx="1090821" cy="859156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388805" y="7"/>
            <a:ext cx="2803201" cy="85915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262086" y="141294"/>
            <a:ext cx="2929921" cy="56238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3035948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6049480" y="3103120"/>
            <a:ext cx="6142523" cy="3754887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818879" y="1"/>
            <a:ext cx="2365126" cy="1723951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775369" y="2304461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9981" y="2219066"/>
            <a:ext cx="6473461" cy="362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1754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100628" y="5970126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612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503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56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210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519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3003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969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3871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6000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000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207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081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0045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6077248" y="0"/>
            <a:ext cx="611475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14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7131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8095852" y="0"/>
            <a:ext cx="409614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9513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583042" y="-37018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78867" y="-128822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314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592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950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58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459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677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768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1922" y="1515"/>
          <a:ext cx="1920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0F965F44-8AE5-201B-AA20-8EEA05BF5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22" y="1515"/>
                        <a:ext cx="1920" cy="1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839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 dt="0"/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diagramLayout" Target="../diagrams/layout11.xml"/><Relationship Id="rId7" Type="http://schemas.openxmlformats.org/officeDocument/2006/relationships/diagramData" Target="../diagrams/data12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1.xml"/><Relationship Id="rId11" Type="http://schemas.microsoft.com/office/2007/relationships/diagramDrawing" Target="../diagrams/drawing12.xml"/><Relationship Id="rId5" Type="http://schemas.openxmlformats.org/officeDocument/2006/relationships/diagramColors" Target="../diagrams/colors11.xml"/><Relationship Id="rId10" Type="http://schemas.openxmlformats.org/officeDocument/2006/relationships/diagramColors" Target="../diagrams/colors12.xml"/><Relationship Id="rId4" Type="http://schemas.openxmlformats.org/officeDocument/2006/relationships/diagramQuickStyle" Target="../diagrams/quickStyle11.xml"/><Relationship Id="rId9" Type="http://schemas.openxmlformats.org/officeDocument/2006/relationships/diagramQuickStyle" Target="../diagrams/quickStyl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947352" y="2575154"/>
            <a:ext cx="5885104" cy="1829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pPr defTabSz="829290"/>
            <a:r>
              <a:rPr lang="ru-RU" sz="2822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ПО СНИЖЕНИЮ БЮРОКРАТИЧЕСКОЙ  НАГРУЗКИ В СИСТЕМЕ ОБРАЗОВАНИ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09" y="448891"/>
            <a:ext cx="1370486" cy="1241382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756509" y="4621772"/>
            <a:ext cx="1572575" cy="1465156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endParaRPr lang="ru-RU" sz="1364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01806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7279220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ОНИТОРИНГИ</a:t>
            </a:r>
          </a:p>
        </p:txBody>
      </p:sp>
      <p:graphicFrame>
        <p:nvGraphicFramePr>
          <p:cNvPr id="2" name="Объект 4">
            <a:extLst>
              <a:ext uri="{FF2B5EF4-FFF2-40B4-BE49-F238E27FC236}">
                <a16:creationId xmlns:a16="http://schemas.microsoft.com/office/drawing/2014/main" id="{805C8659-E4E3-2865-094F-0B397DA4D4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4736087"/>
              </p:ext>
            </p:extLst>
          </p:nvPr>
        </p:nvGraphicFramePr>
        <p:xfrm>
          <a:off x="941700" y="1556951"/>
          <a:ext cx="7279220" cy="50722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DBFEE13-6B6C-CCC5-067E-5FD3BF96D79D}"/>
              </a:ext>
            </a:extLst>
          </p:cNvPr>
          <p:cNvSpPr txBox="1"/>
          <p:nvPr/>
        </p:nvSpPr>
        <p:spPr>
          <a:xfrm>
            <a:off x="8692586" y="2894409"/>
            <a:ext cx="1681486" cy="20745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970" b="1" dirty="0">
                <a:solidFill>
                  <a:srgbClr val="8A8AD0"/>
                </a:solidFill>
              </a:rPr>
              <a:t>Всего</a:t>
            </a:r>
            <a:r>
              <a:rPr lang="ru-RU" sz="2121" dirty="0">
                <a:solidFill>
                  <a:srgbClr val="8A8AD0"/>
                </a:solidFill>
              </a:rPr>
              <a:t> </a:t>
            </a:r>
          </a:p>
          <a:p>
            <a:r>
              <a:rPr lang="ru-RU" sz="5091" dirty="0">
                <a:solidFill>
                  <a:srgbClr val="8A8AD0"/>
                </a:solidFill>
              </a:rPr>
              <a:t>365 </a:t>
            </a:r>
          </a:p>
          <a:p>
            <a:r>
              <a:rPr lang="ru-RU" sz="2121" dirty="0">
                <a:solidFill>
                  <a:srgbClr val="8A8AD0"/>
                </a:solidFill>
              </a:rPr>
              <a:t>показателей </a:t>
            </a:r>
          </a:p>
          <a:p>
            <a:endParaRPr lang="ru-RU" sz="2699" dirty="0"/>
          </a:p>
        </p:txBody>
      </p:sp>
    </p:spTree>
    <p:extLst>
      <p:ext uri="{BB962C8B-B14F-4D97-AF65-F5344CB8AC3E}">
        <p14:creationId xmlns:p14="http://schemas.microsoft.com/office/powerpoint/2010/main" val="24845399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696995" y="286950"/>
            <a:ext cx="6834778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ПРИЧИНЫ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F61F6663-70D4-0DA9-3DE9-309F2566F6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8748938"/>
              </p:ext>
            </p:extLst>
          </p:nvPr>
        </p:nvGraphicFramePr>
        <p:xfrm>
          <a:off x="1219200" y="1120346"/>
          <a:ext cx="8940800" cy="433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8C31590-DF7B-BA05-70F9-77A227673160}"/>
              </a:ext>
            </a:extLst>
          </p:cNvPr>
          <p:cNvSpPr txBox="1"/>
          <p:nvPr/>
        </p:nvSpPr>
        <p:spPr>
          <a:xfrm>
            <a:off x="1829149" y="5517404"/>
            <a:ext cx="7722505" cy="723916"/>
          </a:xfrm>
          <a:prstGeom prst="rect">
            <a:avLst/>
          </a:prstGeom>
          <a:noFill/>
          <a:ln w="28575">
            <a:solidFill>
              <a:srgbClr val="8A8AD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52" b="1" dirty="0">
                <a:solidFill>
                  <a:srgbClr val="8A8AD0"/>
                </a:solidFill>
              </a:rPr>
              <a:t>Никто не владеет информацией </a:t>
            </a:r>
          </a:p>
          <a:p>
            <a:pPr algn="ctr"/>
            <a:r>
              <a:rPr lang="ru-RU" sz="2052" b="1" dirty="0">
                <a:solidFill>
                  <a:srgbClr val="8A8AD0"/>
                </a:solidFill>
              </a:rPr>
              <a:t>обо всем объеме собираемых данных в системе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38722467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A68AB869-8D91-F309-EAF1-14D3983920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9547573"/>
              </p:ext>
            </p:extLst>
          </p:nvPr>
        </p:nvGraphicFramePr>
        <p:xfrm>
          <a:off x="1103684" y="1400566"/>
          <a:ext cx="8947150" cy="4195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783F0FA-2F61-9698-5BFD-BD51B2F02560}"/>
              </a:ext>
            </a:extLst>
          </p:cNvPr>
          <p:cNvSpPr/>
          <p:nvPr/>
        </p:nvSpPr>
        <p:spPr>
          <a:xfrm>
            <a:off x="1888760" y="5703758"/>
            <a:ext cx="7255240" cy="91440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Отсутствие управленческой логистики 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DB4495C5-68D4-9842-7F73-556B6DB9885A}"/>
              </a:ext>
            </a:extLst>
          </p:cNvPr>
          <p:cNvSpPr/>
          <p:nvPr/>
        </p:nvSpPr>
        <p:spPr>
          <a:xfrm>
            <a:off x="2153583" y="286950"/>
            <a:ext cx="7279220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800" b="1" dirty="0">
                <a:solidFill>
                  <a:srgbClr val="423D67"/>
                </a:solidFill>
              </a:rPr>
              <a:t>РЕЗУЛЬТАТЫ АНАЛИЗА СИТУАЦИИ </a:t>
            </a:r>
          </a:p>
        </p:txBody>
      </p:sp>
    </p:spTree>
    <p:extLst>
      <p:ext uri="{BB962C8B-B14F-4D97-AF65-F5344CB8AC3E}">
        <p14:creationId xmlns:p14="http://schemas.microsoft.com/office/powerpoint/2010/main" val="505936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727922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ТЕКУЩАЯ СИТУАЦИЯ </a:t>
            </a:r>
          </a:p>
        </p:txBody>
      </p:sp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8FE09756-3F14-BD44-866D-C6DA722E5B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7652564"/>
              </p:ext>
            </p:extLst>
          </p:nvPr>
        </p:nvGraphicFramePr>
        <p:xfrm>
          <a:off x="1651719" y="1586762"/>
          <a:ext cx="8172971" cy="31874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B484DFE4-99F1-C160-EF93-81678C1F2D8F}"/>
              </a:ext>
            </a:extLst>
          </p:cNvPr>
          <p:cNvSpPr/>
          <p:nvPr/>
        </p:nvSpPr>
        <p:spPr>
          <a:xfrm>
            <a:off x="1568707" y="5169892"/>
            <a:ext cx="8304873" cy="41618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24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B8B39A-E9BC-474B-AC4C-2F8619E94A45}"/>
              </a:ext>
            </a:extLst>
          </p:cNvPr>
          <p:cNvSpPr txBox="1"/>
          <p:nvPr/>
        </p:nvSpPr>
        <p:spPr>
          <a:xfrm>
            <a:off x="1568707" y="5220579"/>
            <a:ext cx="8255983" cy="337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91" b="1" dirty="0"/>
              <a:t>Избыточный сбор данных без обратной связи, а реально нужных данных нет  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11FEBDB6-8781-48DE-5610-2BA4AD5387A6}"/>
              </a:ext>
            </a:extLst>
          </p:cNvPr>
          <p:cNvSpPr/>
          <p:nvPr/>
        </p:nvSpPr>
        <p:spPr>
          <a:xfrm>
            <a:off x="1568706" y="5676471"/>
            <a:ext cx="8304874" cy="41618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24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A14DC-86AE-0327-6BB3-A8E7579DCC37}"/>
              </a:ext>
            </a:extLst>
          </p:cNvPr>
          <p:cNvSpPr txBox="1"/>
          <p:nvPr/>
        </p:nvSpPr>
        <p:spPr>
          <a:xfrm>
            <a:off x="1620589" y="5691034"/>
            <a:ext cx="8640687" cy="329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39" b="1" dirty="0"/>
              <a:t>Данные имеющихся ИС не позволяют обеспечить автоматизацию мониторингов   </a:t>
            </a:r>
          </a:p>
        </p:txBody>
      </p:sp>
    </p:spTree>
    <p:extLst>
      <p:ext uri="{BB962C8B-B14F-4D97-AF65-F5344CB8AC3E}">
        <p14:creationId xmlns:p14="http://schemas.microsoft.com/office/powerpoint/2010/main" val="18263076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СНОВНЫЕ ЗАДАЧИ </a:t>
            </a:r>
          </a:p>
        </p:txBody>
      </p:sp>
      <p:graphicFrame>
        <p:nvGraphicFramePr>
          <p:cNvPr id="8" name="Схема 7">
            <a:extLst>
              <a:ext uri="{FF2B5EF4-FFF2-40B4-BE49-F238E27FC236}">
                <a16:creationId xmlns:a16="http://schemas.microsoft.com/office/drawing/2014/main" id="{A1DF3FE0-BCB9-1BC7-74BE-E02501D67835}"/>
              </a:ext>
            </a:extLst>
          </p:cNvPr>
          <p:cNvGraphicFramePr/>
          <p:nvPr/>
        </p:nvGraphicFramePr>
        <p:xfrm>
          <a:off x="1755939" y="1139232"/>
          <a:ext cx="8240814" cy="4310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84EFA50-6277-3429-C8BF-59F6A8F3A225}"/>
              </a:ext>
            </a:extLst>
          </p:cNvPr>
          <p:cNvSpPr/>
          <p:nvPr/>
        </p:nvSpPr>
        <p:spPr>
          <a:xfrm>
            <a:off x="2224564" y="5676670"/>
            <a:ext cx="3651782" cy="837884"/>
          </a:xfrm>
          <a:prstGeom prst="rect">
            <a:avLst/>
          </a:prstGeom>
          <a:solidFill>
            <a:srgbClr val="C00000"/>
          </a:solidFill>
          <a:ln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Отсечь все лишнее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91E325C-A812-7B64-E278-9AB1D64A0E10}"/>
              </a:ext>
            </a:extLst>
          </p:cNvPr>
          <p:cNvSpPr/>
          <p:nvPr/>
        </p:nvSpPr>
        <p:spPr>
          <a:xfrm>
            <a:off x="6162623" y="5676670"/>
            <a:ext cx="3651782" cy="83788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Оставить нужное </a:t>
            </a:r>
          </a:p>
        </p:txBody>
      </p:sp>
    </p:spTree>
    <p:extLst>
      <p:ext uri="{BB962C8B-B14F-4D97-AF65-F5344CB8AC3E}">
        <p14:creationId xmlns:p14="http://schemas.microsoft.com/office/powerpoint/2010/main" val="16811452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МЕЖВЕДОМСТВЕННАЯ РАБОЧАЯ ГРУППА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2F2B1C9-EAB6-884C-C6C1-96F1EEA5AB57}"/>
              </a:ext>
            </a:extLst>
          </p:cNvPr>
          <p:cNvSpPr/>
          <p:nvPr/>
        </p:nvSpPr>
        <p:spPr>
          <a:xfrm>
            <a:off x="1917340" y="1996496"/>
            <a:ext cx="8176359" cy="956585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400" b="1" dirty="0">
                <a:solidFill>
                  <a:prstClr val="black"/>
                </a:solidFill>
                <a:latin typeface="Arial" panose="020B0604020202020204"/>
              </a:rPr>
              <a:t>Председатель </a:t>
            </a:r>
          </a:p>
          <a:p>
            <a:pPr algn="ctr" defTabSz="829290"/>
            <a:r>
              <a:rPr lang="ru-RU" sz="2400" dirty="0">
                <a:solidFill>
                  <a:prstClr val="black"/>
                </a:solidFill>
                <a:latin typeface="Arial" panose="020B0604020202020204"/>
              </a:rPr>
              <a:t>Музаев А.А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A3071E2-5ABD-76DB-9FBE-802DEBC881A0}"/>
              </a:ext>
            </a:extLst>
          </p:cNvPr>
          <p:cNvSpPr/>
          <p:nvPr/>
        </p:nvSpPr>
        <p:spPr>
          <a:xfrm>
            <a:off x="1917340" y="3222557"/>
            <a:ext cx="8176359" cy="659179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796" b="1" dirty="0">
                <a:solidFill>
                  <a:prstClr val="black"/>
                </a:solidFill>
                <a:latin typeface="Arial" panose="020B0604020202020204"/>
              </a:rPr>
              <a:t>Руководитель-координатор рабочей группы </a:t>
            </a:r>
          </a:p>
          <a:p>
            <a:pPr algn="ctr" defTabSz="829290"/>
            <a:r>
              <a:rPr lang="ru-RU" sz="1796" dirty="0">
                <a:solidFill>
                  <a:prstClr val="black"/>
                </a:solidFill>
                <a:latin typeface="Arial" panose="020B0604020202020204"/>
              </a:rPr>
              <a:t>Алтыникова Н.В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BC16CEB-8E4F-4623-BEE3-8ACF4824E9D5}"/>
              </a:ext>
            </a:extLst>
          </p:cNvPr>
          <p:cNvSpPr/>
          <p:nvPr/>
        </p:nvSpPr>
        <p:spPr>
          <a:xfrm>
            <a:off x="1917340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Общее образование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4FAA430-119B-7DB9-4A96-2490FAAB49DD}"/>
              </a:ext>
            </a:extLst>
          </p:cNvPr>
          <p:cNvSpPr/>
          <p:nvPr/>
        </p:nvSpPr>
        <p:spPr>
          <a:xfrm>
            <a:off x="4808042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476148D-B606-0423-E2CE-6238FACF0C23}"/>
              </a:ext>
            </a:extLst>
          </p:cNvPr>
          <p:cNvSpPr/>
          <p:nvPr/>
        </p:nvSpPr>
        <p:spPr>
          <a:xfrm>
            <a:off x="7698746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990DE57-3305-7D11-CE68-9EA9C2FB855F}"/>
              </a:ext>
            </a:extLst>
          </p:cNvPr>
          <p:cNvSpPr/>
          <p:nvPr/>
        </p:nvSpPr>
        <p:spPr>
          <a:xfrm>
            <a:off x="1917340" y="5150794"/>
            <a:ext cx="8176360" cy="605930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800" b="1" dirty="0">
                <a:solidFill>
                  <a:schemeClr val="tx1"/>
                </a:solidFill>
                <a:latin typeface="Arial" panose="020B0604020202020204"/>
              </a:rPr>
              <a:t>Проекты документов 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3CC94402-E28B-112B-EE64-F3B88219EBAF}"/>
              </a:ext>
            </a:extLst>
          </p:cNvPr>
          <p:cNvCxnSpPr/>
          <p:nvPr/>
        </p:nvCxnSpPr>
        <p:spPr>
          <a:xfrm flipH="1">
            <a:off x="8913680" y="4859056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38427CF7-2833-AEE7-4437-C0044FE302F7}"/>
              </a:ext>
            </a:extLst>
          </p:cNvPr>
          <p:cNvCxnSpPr/>
          <p:nvPr/>
        </p:nvCxnSpPr>
        <p:spPr>
          <a:xfrm flipH="1">
            <a:off x="5995046" y="4831339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6CB958F4-F1A7-1217-6FB8-34CA81A4AC2D}"/>
              </a:ext>
            </a:extLst>
          </p:cNvPr>
          <p:cNvCxnSpPr/>
          <p:nvPr/>
        </p:nvCxnSpPr>
        <p:spPr>
          <a:xfrm flipH="1">
            <a:off x="3076413" y="4860475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7A49E0C2-F271-311A-03E7-3828D860A501}"/>
              </a:ext>
            </a:extLst>
          </p:cNvPr>
          <p:cNvCxnSpPr/>
          <p:nvPr/>
        </p:nvCxnSpPr>
        <p:spPr>
          <a:xfrm flipH="1">
            <a:off x="3107833" y="3869845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FB35F87B-050A-5B25-5A3D-0D30888E9CC1}"/>
              </a:ext>
            </a:extLst>
          </p:cNvPr>
          <p:cNvCxnSpPr/>
          <p:nvPr/>
        </p:nvCxnSpPr>
        <p:spPr>
          <a:xfrm flipH="1">
            <a:off x="5995046" y="3874961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22914B0F-4A93-9932-BFC8-5191751AE30C}"/>
              </a:ext>
            </a:extLst>
          </p:cNvPr>
          <p:cNvCxnSpPr/>
          <p:nvPr/>
        </p:nvCxnSpPr>
        <p:spPr>
          <a:xfrm flipH="1">
            <a:off x="8899713" y="3881737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1FE9FDAB-EFEA-0647-BD03-577F3781EB23}"/>
              </a:ext>
            </a:extLst>
          </p:cNvPr>
          <p:cNvCxnSpPr/>
          <p:nvPr/>
        </p:nvCxnSpPr>
        <p:spPr>
          <a:xfrm flipH="1">
            <a:off x="5974099" y="2953081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91688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658053" y="424109"/>
            <a:ext cx="749557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МОДЕЛЬ РЕАЛИЗАЦИИ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0D1C771-73CA-D308-60B4-4904B489AA6D}"/>
              </a:ext>
            </a:extLst>
          </p:cNvPr>
          <p:cNvSpPr/>
          <p:nvPr/>
        </p:nvSpPr>
        <p:spPr>
          <a:xfrm>
            <a:off x="1752735" y="1075570"/>
            <a:ext cx="6849589" cy="615099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155" b="1" dirty="0">
                <a:solidFill>
                  <a:prstClr val="black"/>
                </a:solidFill>
                <a:latin typeface="Arial" panose="020B0604020202020204"/>
              </a:rPr>
              <a:t>Межведомственная рабочая группа </a:t>
            </a:r>
          </a:p>
          <a:p>
            <a:pPr algn="ctr" defTabSz="829290"/>
            <a:r>
              <a:rPr lang="ru-RU" sz="1155" b="1" dirty="0">
                <a:solidFill>
                  <a:prstClr val="black"/>
                </a:solidFill>
                <a:latin typeface="Arial" panose="020B0604020202020204"/>
              </a:rPr>
              <a:t>по снижению документационной нагрузки в системе образования</a:t>
            </a:r>
          </a:p>
          <a:p>
            <a:pPr algn="ctr" defTabSz="829290"/>
            <a:r>
              <a:rPr lang="ru-RU" sz="1155" dirty="0">
                <a:solidFill>
                  <a:prstClr val="black"/>
                </a:solidFill>
                <a:latin typeface="Arial" panose="020B0604020202020204"/>
              </a:rPr>
              <a:t>+ 4 экспертные группы 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297BA7CE-5AAE-CE1A-32D5-DF9AFADC44CF}"/>
              </a:ext>
            </a:extLst>
          </p:cNvPr>
          <p:cNvGraphicFramePr/>
          <p:nvPr/>
        </p:nvGraphicFramePr>
        <p:xfrm>
          <a:off x="1767160" y="1557069"/>
          <a:ext cx="6849589" cy="24508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C4EB96E-5C8D-1718-5E0F-C0999A6CCAA4}"/>
              </a:ext>
            </a:extLst>
          </p:cNvPr>
          <p:cNvSpPr/>
          <p:nvPr/>
        </p:nvSpPr>
        <p:spPr>
          <a:xfrm>
            <a:off x="1733726" y="4200138"/>
            <a:ext cx="6878437" cy="496277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052" b="1" dirty="0">
                <a:solidFill>
                  <a:prstClr val="black"/>
                </a:solidFill>
                <a:latin typeface="Arial" panose="020B0604020202020204"/>
              </a:rPr>
              <a:t>Рабочая группа по Регуляторной гильотине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BEA155B-631B-5CA3-70A1-4A3B98432AFD}"/>
              </a:ext>
            </a:extLst>
          </p:cNvPr>
          <p:cNvSpPr/>
          <p:nvPr/>
        </p:nvSpPr>
        <p:spPr>
          <a:xfrm>
            <a:off x="1742900" y="4747730"/>
            <a:ext cx="6873878" cy="49627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026" b="1" dirty="0">
                <a:solidFill>
                  <a:prstClr val="black"/>
                </a:solidFill>
                <a:latin typeface="Arial" panose="020B0604020202020204"/>
              </a:rPr>
              <a:t>Внесение изменений в 273 ФЗ </a:t>
            </a:r>
          </a:p>
          <a:p>
            <a:pPr algn="ctr" defTabSz="829290"/>
            <a:r>
              <a:rPr lang="ru-RU" sz="1026" dirty="0">
                <a:solidFill>
                  <a:prstClr val="black"/>
                </a:solidFill>
                <a:latin typeface="Arial" panose="020B0604020202020204"/>
              </a:rPr>
              <a:t>(об установлении полномочий Минпросвещения и Минобрнауки по установлению перечней документации и иной запрашиваемой информации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ACB013B-AAD4-C67E-A7CB-98E94779F89D}"/>
              </a:ext>
            </a:extLst>
          </p:cNvPr>
          <p:cNvSpPr/>
          <p:nvPr/>
        </p:nvSpPr>
        <p:spPr>
          <a:xfrm>
            <a:off x="1730769" y="5300931"/>
            <a:ext cx="6881394" cy="481499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026" b="1" dirty="0">
                <a:solidFill>
                  <a:prstClr val="black"/>
                </a:solidFill>
                <a:latin typeface="Arial" panose="020B0604020202020204"/>
              </a:rPr>
              <a:t>Издание приказов </a:t>
            </a:r>
          </a:p>
          <a:p>
            <a:pPr algn="ctr" defTabSz="829290"/>
            <a:r>
              <a:rPr lang="ru-RU" sz="1026" dirty="0">
                <a:solidFill>
                  <a:prstClr val="black"/>
                </a:solidFill>
                <a:latin typeface="Arial" panose="020B0604020202020204"/>
              </a:rPr>
              <a:t>Минобрнауки, Минпросвещения, Рособрнадзора об установлении перечней документации, мониторингов, ИС 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D8D3277A-977D-3D38-B273-A91EE581E728}"/>
              </a:ext>
            </a:extLst>
          </p:cNvPr>
          <p:cNvCxnSpPr>
            <a:cxnSpLocks/>
          </p:cNvCxnSpPr>
          <p:nvPr/>
        </p:nvCxnSpPr>
        <p:spPr>
          <a:xfrm>
            <a:off x="1463486" y="5844247"/>
            <a:ext cx="9188804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E75194A-6A40-9E5B-100D-31DD63DA64BF}"/>
              </a:ext>
            </a:extLst>
          </p:cNvPr>
          <p:cNvSpPr/>
          <p:nvPr/>
        </p:nvSpPr>
        <p:spPr>
          <a:xfrm>
            <a:off x="1742900" y="5911244"/>
            <a:ext cx="6849589" cy="43229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dirty="0">
                <a:solidFill>
                  <a:prstClr val="white"/>
                </a:solidFill>
                <a:latin typeface="Arial" panose="020B0604020202020204"/>
              </a:rPr>
              <a:t>Сокращенные перечни документации, мониторингов, ГИС, запросов 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6561D6E-92B1-DB8F-8D24-133E2390E8E0}"/>
              </a:ext>
            </a:extLst>
          </p:cNvPr>
          <p:cNvSpPr/>
          <p:nvPr/>
        </p:nvSpPr>
        <p:spPr>
          <a:xfrm>
            <a:off x="1742900" y="6350406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Детские сады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CA61551-2AB3-E6A0-4805-55EE9384D1D1}"/>
              </a:ext>
            </a:extLst>
          </p:cNvPr>
          <p:cNvSpPr/>
          <p:nvPr/>
        </p:nvSpPr>
        <p:spPr>
          <a:xfrm>
            <a:off x="3467427" y="6350406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Школы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BA39A33-5F48-BAF7-A84D-5293498E546D}"/>
              </a:ext>
            </a:extLst>
          </p:cNvPr>
          <p:cNvSpPr/>
          <p:nvPr/>
        </p:nvSpPr>
        <p:spPr>
          <a:xfrm>
            <a:off x="5143435" y="6343542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C88FCFD-237A-6C9E-43A4-5ABFE6FBDE8A}"/>
              </a:ext>
            </a:extLst>
          </p:cNvPr>
          <p:cNvSpPr/>
          <p:nvPr/>
        </p:nvSpPr>
        <p:spPr>
          <a:xfrm>
            <a:off x="6867962" y="6344742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C14DA2-963D-D161-658D-221D48E3AB6D}"/>
              </a:ext>
            </a:extLst>
          </p:cNvPr>
          <p:cNvSpPr txBox="1"/>
          <p:nvPr/>
        </p:nvSpPr>
        <p:spPr>
          <a:xfrm>
            <a:off x="8937411" y="6130572"/>
            <a:ext cx="1441420" cy="3686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796" b="1" dirty="0">
                <a:solidFill>
                  <a:srgbClr val="C00000"/>
                </a:solidFill>
                <a:latin typeface="Arial" panose="020B0604020202020204"/>
              </a:rPr>
              <a:t>С 1.03.20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9CBFA7-5EF4-AC0E-E702-5D0C4463ECFE}"/>
              </a:ext>
            </a:extLst>
          </p:cNvPr>
          <p:cNvSpPr txBox="1"/>
          <p:nvPr/>
        </p:nvSpPr>
        <p:spPr>
          <a:xfrm>
            <a:off x="8852437" y="5253935"/>
            <a:ext cx="1514517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632" b="1" dirty="0">
                <a:solidFill>
                  <a:prstClr val="black"/>
                </a:solidFill>
                <a:latin typeface="Arial" panose="020B0604020202020204"/>
              </a:rPr>
              <a:t>До 1.12. 202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BAF2DA-2A39-97C8-FFCD-3F391EF736AB}"/>
              </a:ext>
            </a:extLst>
          </p:cNvPr>
          <p:cNvSpPr txBox="1"/>
          <p:nvPr/>
        </p:nvSpPr>
        <p:spPr>
          <a:xfrm>
            <a:off x="8863993" y="4549085"/>
            <a:ext cx="15029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632" b="1" dirty="0">
                <a:solidFill>
                  <a:prstClr val="black"/>
                </a:solidFill>
                <a:latin typeface="Arial" panose="020B0604020202020204"/>
              </a:rPr>
              <a:t>До 1.11. 2023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968FE01-FAE9-953B-FAB7-29A00048B891}"/>
              </a:ext>
            </a:extLst>
          </p:cNvPr>
          <p:cNvSpPr/>
          <p:nvPr/>
        </p:nvSpPr>
        <p:spPr>
          <a:xfrm>
            <a:off x="1738312" y="3685213"/>
            <a:ext cx="6878437" cy="49627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b="1" dirty="0">
                <a:solidFill>
                  <a:prstClr val="black"/>
                </a:solidFill>
                <a:latin typeface="Arial" panose="020B0604020202020204"/>
              </a:rPr>
              <a:t>Проекты документов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8338542-83D3-1AB9-3064-60209E7F9904}"/>
              </a:ext>
            </a:extLst>
          </p:cNvPr>
          <p:cNvSpPr/>
          <p:nvPr/>
        </p:nvSpPr>
        <p:spPr>
          <a:xfrm>
            <a:off x="8863992" y="1791443"/>
            <a:ext cx="3131003" cy="2030907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5317" rtlCol="0" anchor="ctr"/>
          <a:lstStyle/>
          <a:p>
            <a:pPr>
              <a:lnSpc>
                <a:spcPct val="85000"/>
              </a:lnSpc>
            </a:pPr>
            <a:r>
              <a:rPr lang="en-US" b="1" spc="-36" dirty="0">
                <a:solidFill>
                  <a:srgbClr val="423D67"/>
                </a:solidFill>
              </a:rPr>
              <a:t>III</a:t>
            </a:r>
            <a:r>
              <a:rPr lang="ru-RU" b="1" spc="-36" dirty="0">
                <a:solidFill>
                  <a:srgbClr val="423D67"/>
                </a:solidFill>
              </a:rPr>
              <a:t>. </a:t>
            </a:r>
            <a:r>
              <a:rPr lang="ru-RU" sz="2000" b="1" spc="-36" dirty="0">
                <a:solidFill>
                  <a:srgbClr val="423D67"/>
                </a:solidFill>
              </a:rPr>
              <a:t>Проведение эксперимента </a:t>
            </a:r>
            <a:endParaRPr lang="en-US" sz="2000" b="1" spc="-36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r>
              <a:rPr lang="ru-RU" sz="1270" b="1" spc="-36" dirty="0">
                <a:solidFill>
                  <a:srgbClr val="423D67"/>
                </a:solidFill>
              </a:rPr>
              <a:t>по сокращению бюрократической нагрузки на образовательные организации и их педагогических работников</a:t>
            </a:r>
          </a:p>
          <a:p>
            <a:pPr>
              <a:lnSpc>
                <a:spcPct val="85000"/>
              </a:lnSpc>
            </a:pPr>
            <a:r>
              <a:rPr lang="ru-RU" sz="1089" spc="-36" dirty="0">
                <a:solidFill>
                  <a:srgbClr val="423D67"/>
                </a:solidFill>
              </a:rPr>
              <a:t>(в соответствии с постановлением Правительства Российской Федерации)</a:t>
            </a:r>
          </a:p>
        </p:txBody>
      </p:sp>
    </p:spTree>
    <p:extLst>
      <p:ext uri="{BB962C8B-B14F-4D97-AF65-F5344CB8AC3E}">
        <p14:creationId xmlns:p14="http://schemas.microsoft.com/office/powerpoint/2010/main" val="39214411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B299643-94B3-73B2-6E87-0FB6409678E3}"/>
              </a:ext>
            </a:extLst>
          </p:cNvPr>
          <p:cNvGrpSpPr/>
          <p:nvPr/>
        </p:nvGrpSpPr>
        <p:grpSpPr>
          <a:xfrm>
            <a:off x="873211" y="1134342"/>
            <a:ext cx="10635048" cy="5436707"/>
            <a:chOff x="1193017" y="1996225"/>
            <a:chExt cx="12861482" cy="7815023"/>
          </a:xfrm>
        </p:grpSpPr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7EE53726-8783-B1FA-8F28-EFC0BA4F5C43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2469188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2C6E8AFC-FB1D-8C61-C618-E875B41B5880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3427974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Группа 76">
              <a:extLst>
                <a:ext uri="{FF2B5EF4-FFF2-40B4-BE49-F238E27FC236}">
                  <a16:creationId xmlns:a16="http://schemas.microsoft.com/office/drawing/2014/main" id="{5E2347B0-4D63-91B1-EDF7-CFAA8374391E}"/>
                </a:ext>
              </a:extLst>
            </p:cNvPr>
            <p:cNvGrpSpPr/>
            <p:nvPr/>
          </p:nvGrpSpPr>
          <p:grpSpPr>
            <a:xfrm>
              <a:off x="1193017" y="2573239"/>
              <a:ext cx="12861482" cy="776527"/>
              <a:chOff x="1193017" y="2583502"/>
              <a:chExt cx="12861482" cy="776527"/>
            </a:xfrm>
          </p:grpSpPr>
          <p:sp>
            <p:nvSpPr>
              <p:cNvPr id="26" name="Равнобедренный треугольник 25">
                <a:extLst>
                  <a:ext uri="{FF2B5EF4-FFF2-40B4-BE49-F238E27FC236}">
                    <a16:creationId xmlns:a16="http://schemas.microsoft.com/office/drawing/2014/main" id="{799C2763-B116-B8AB-F3DA-257E3BA4B1A6}"/>
                  </a:ext>
                </a:extLst>
              </p:cNvPr>
              <p:cNvSpPr/>
              <p:nvPr/>
            </p:nvSpPr>
            <p:spPr>
              <a:xfrm rot="5400000">
                <a:off x="1663141" y="2867278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3C42876-1B3A-3547-5A0D-734781A37751}"/>
                  </a:ext>
                </a:extLst>
              </p:cNvPr>
              <p:cNvSpPr txBox="1"/>
              <p:nvPr/>
            </p:nvSpPr>
            <p:spPr>
              <a:xfrm>
                <a:off x="1193017" y="2820345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1</a:t>
                </a:r>
              </a:p>
            </p:txBody>
          </p:sp>
          <p:sp>
            <p:nvSpPr>
              <p:cNvPr id="44" name="Прямоугольник 43">
                <a:extLst>
                  <a:ext uri="{FF2B5EF4-FFF2-40B4-BE49-F238E27FC236}">
                    <a16:creationId xmlns:a16="http://schemas.microsoft.com/office/drawing/2014/main" id="{8C2903D7-71ED-7A29-7D48-6351799EE1B0}"/>
                  </a:ext>
                </a:extLst>
              </p:cNvPr>
              <p:cNvSpPr/>
              <p:nvPr/>
            </p:nvSpPr>
            <p:spPr>
              <a:xfrm>
                <a:off x="12512249" y="2583502"/>
                <a:ext cx="1542250" cy="776527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00" b="1" dirty="0">
                    <a:solidFill>
                      <a:srgbClr val="423D67"/>
                    </a:solidFill>
                  </a:rPr>
                  <a:t>Совместно 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51F4259-252B-C8C5-0B69-2DFB04CC4F41}"/>
                  </a:ext>
                </a:extLst>
              </p:cNvPr>
              <p:cNvSpPr txBox="1"/>
              <p:nvPr/>
            </p:nvSpPr>
            <p:spPr>
              <a:xfrm>
                <a:off x="2255066" y="2820345"/>
                <a:ext cx="9645390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b="0" dirty="0"/>
                  <a:t>Поправки в ФЗ № 273 «Об образовании»  </a:t>
                </a:r>
              </a:p>
            </p:txBody>
          </p:sp>
        </p:grpSp>
        <p:cxnSp>
          <p:nvCxnSpPr>
            <p:cNvPr id="3" name="Прямая соединительная линия 2">
              <a:extLst>
                <a:ext uri="{FF2B5EF4-FFF2-40B4-BE49-F238E27FC236}">
                  <a16:creationId xmlns:a16="http://schemas.microsoft.com/office/drawing/2014/main" id="{18C3BA89-22C5-8BF8-2D63-49CD3C5F5A5D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4321113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8" name="Группа 77">
              <a:extLst>
                <a:ext uri="{FF2B5EF4-FFF2-40B4-BE49-F238E27FC236}">
                  <a16:creationId xmlns:a16="http://schemas.microsoft.com/office/drawing/2014/main" id="{CBD1D2CB-CCFA-4990-45CA-262DB75EC368}"/>
                </a:ext>
              </a:extLst>
            </p:cNvPr>
            <p:cNvGrpSpPr/>
            <p:nvPr/>
          </p:nvGrpSpPr>
          <p:grpSpPr>
            <a:xfrm>
              <a:off x="1193017" y="3596687"/>
              <a:ext cx="12861482" cy="542010"/>
              <a:chOff x="1193017" y="3566943"/>
              <a:chExt cx="12861482" cy="542010"/>
            </a:xfrm>
          </p:grpSpPr>
          <p:sp>
            <p:nvSpPr>
              <p:cNvPr id="5" name="Равнобедренный треугольник 4">
                <a:extLst>
                  <a:ext uri="{FF2B5EF4-FFF2-40B4-BE49-F238E27FC236}">
                    <a16:creationId xmlns:a16="http://schemas.microsoft.com/office/drawing/2014/main" id="{9B0FA1F2-F166-A721-BC84-1B65222E9B27}"/>
                  </a:ext>
                </a:extLst>
              </p:cNvPr>
              <p:cNvSpPr/>
              <p:nvPr/>
            </p:nvSpPr>
            <p:spPr>
              <a:xfrm rot="5400000">
                <a:off x="1663141" y="3753234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C845D31-6A32-FB46-9035-C89FB607B64C}"/>
                  </a:ext>
                </a:extLst>
              </p:cNvPr>
              <p:cNvSpPr txBox="1"/>
              <p:nvPr/>
            </p:nvSpPr>
            <p:spPr>
              <a:xfrm>
                <a:off x="1193017" y="3706301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2</a:t>
                </a:r>
              </a:p>
            </p:txBody>
          </p:sp>
          <p:sp>
            <p:nvSpPr>
              <p:cNvPr id="7" name="Прямоугольник 6">
                <a:extLst>
                  <a:ext uri="{FF2B5EF4-FFF2-40B4-BE49-F238E27FC236}">
                    <a16:creationId xmlns:a16="http://schemas.microsoft.com/office/drawing/2014/main" id="{A72EF025-F425-7009-C090-489C5985DB06}"/>
                  </a:ext>
                </a:extLst>
              </p:cNvPr>
              <p:cNvSpPr/>
              <p:nvPr/>
            </p:nvSpPr>
            <p:spPr>
              <a:xfrm>
                <a:off x="12512249" y="3642043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02906E41-7465-A163-DBDC-EE4E72C6CC5C}"/>
                  </a:ext>
                </a:extLst>
              </p:cNvPr>
              <p:cNvSpPr txBox="1"/>
              <p:nvPr/>
            </p:nvSpPr>
            <p:spPr>
              <a:xfrm>
                <a:off x="2255066" y="3566943"/>
                <a:ext cx="10185523" cy="5420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just">
                  <a:lnSpc>
                    <a:spcPct val="115000"/>
                  </a:lnSpc>
                  <a:spcAft>
                    <a:spcPts val="641"/>
                  </a:spcAft>
                </a:pPr>
                <a:r>
                  <a:rPr lang="ru-RU" sz="1026" b="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риказ «Об утверждении перечня документации, подготовка которой </a:t>
                </a:r>
                <a:r>
                  <a:rPr lang="ru-RU" sz="1026" b="0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осуществляется педагогическими работниками при реализации основных общеобразовательных программ и образовательных программ среднего профессионального образования»</a:t>
                </a:r>
              </a:p>
            </p:txBody>
          </p:sp>
        </p:grp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D4A86DD0-FC3D-F8A2-FB7D-295CFC6B9DA5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5279899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Группа 78">
              <a:extLst>
                <a:ext uri="{FF2B5EF4-FFF2-40B4-BE49-F238E27FC236}">
                  <a16:creationId xmlns:a16="http://schemas.microsoft.com/office/drawing/2014/main" id="{9250FC60-6A33-5734-020A-403C50180411}"/>
                </a:ext>
              </a:extLst>
            </p:cNvPr>
            <p:cNvGrpSpPr/>
            <p:nvPr/>
          </p:nvGrpSpPr>
          <p:grpSpPr>
            <a:xfrm>
              <a:off x="1193017" y="4428358"/>
              <a:ext cx="12861482" cy="616323"/>
              <a:chOff x="1193017" y="4422210"/>
              <a:chExt cx="12861482" cy="616323"/>
            </a:xfrm>
          </p:grpSpPr>
          <p:sp>
            <p:nvSpPr>
              <p:cNvPr id="12" name="Равнобедренный треугольник 11">
                <a:extLst>
                  <a:ext uri="{FF2B5EF4-FFF2-40B4-BE49-F238E27FC236}">
                    <a16:creationId xmlns:a16="http://schemas.microsoft.com/office/drawing/2014/main" id="{0AA5BCAB-CEC3-5F4B-1619-118AAF677972}"/>
                  </a:ext>
                </a:extLst>
              </p:cNvPr>
              <p:cNvSpPr/>
              <p:nvPr/>
            </p:nvSpPr>
            <p:spPr>
              <a:xfrm rot="5400000">
                <a:off x="1663141" y="4702792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FCAC01D5-FEFD-C851-C8D7-9C2B06DF9418}"/>
                  </a:ext>
                </a:extLst>
              </p:cNvPr>
              <p:cNvSpPr txBox="1"/>
              <p:nvPr/>
            </p:nvSpPr>
            <p:spPr>
              <a:xfrm>
                <a:off x="1193017" y="4655859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3</a:t>
                </a:r>
              </a:p>
            </p:txBody>
          </p:sp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CC8A13CB-4475-7EE2-1B75-4DB7DB7FB05D}"/>
                  </a:ext>
                </a:extLst>
              </p:cNvPr>
              <p:cNvSpPr/>
              <p:nvPr/>
            </p:nvSpPr>
            <p:spPr>
              <a:xfrm>
                <a:off x="12512249" y="4591601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обрнауки 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40A1B86-AA1C-27D2-2917-B977E5C3ECF5}"/>
                  </a:ext>
                </a:extLst>
              </p:cNvPr>
              <p:cNvSpPr txBox="1"/>
              <p:nvPr/>
            </p:nvSpPr>
            <p:spPr>
              <a:xfrm>
                <a:off x="2390305" y="4422210"/>
                <a:ext cx="9510148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D2ECA3BA-3729-B102-882D-8FAE38840CD2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6238685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0" name="Группа 79">
              <a:extLst>
                <a:ext uri="{FF2B5EF4-FFF2-40B4-BE49-F238E27FC236}">
                  <a16:creationId xmlns:a16="http://schemas.microsoft.com/office/drawing/2014/main" id="{1D5B7577-911C-4CF5-D3DC-6F2EA485081B}"/>
                </a:ext>
              </a:extLst>
            </p:cNvPr>
            <p:cNvGrpSpPr/>
            <p:nvPr/>
          </p:nvGrpSpPr>
          <p:grpSpPr>
            <a:xfrm>
              <a:off x="1193017" y="5482293"/>
              <a:ext cx="12861482" cy="521174"/>
              <a:chOff x="1193017" y="5435116"/>
              <a:chExt cx="12861482" cy="521174"/>
            </a:xfrm>
          </p:grpSpPr>
          <p:sp>
            <p:nvSpPr>
              <p:cNvPr id="18" name="Равнобедренный треугольник 17">
                <a:extLst>
                  <a:ext uri="{FF2B5EF4-FFF2-40B4-BE49-F238E27FC236}">
                    <a16:creationId xmlns:a16="http://schemas.microsoft.com/office/drawing/2014/main" id="{56F9E6B5-5B0B-2427-AB59-D8E83B018719}"/>
                  </a:ext>
                </a:extLst>
              </p:cNvPr>
              <p:cNvSpPr/>
              <p:nvPr/>
            </p:nvSpPr>
            <p:spPr>
              <a:xfrm rot="5400000">
                <a:off x="1663141" y="5620549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62A757F-64C2-4B37-DF8D-7AD4BF8D0313}"/>
                  </a:ext>
                </a:extLst>
              </p:cNvPr>
              <p:cNvSpPr txBox="1"/>
              <p:nvPr/>
            </p:nvSpPr>
            <p:spPr>
              <a:xfrm>
                <a:off x="1193017" y="5573615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4</a:t>
                </a:r>
              </a:p>
            </p:txBody>
          </p:sp>
          <p:sp>
            <p:nvSpPr>
              <p:cNvPr id="20" name="Прямоугольник 19">
                <a:extLst>
                  <a:ext uri="{FF2B5EF4-FFF2-40B4-BE49-F238E27FC236}">
                    <a16:creationId xmlns:a16="http://schemas.microsoft.com/office/drawing/2014/main" id="{1519C3E4-4749-54B6-9B8C-D88EE3114AE0}"/>
                  </a:ext>
                </a:extLst>
              </p:cNvPr>
              <p:cNvSpPr/>
              <p:nvPr/>
            </p:nvSpPr>
            <p:spPr>
              <a:xfrm>
                <a:off x="12512249" y="5509358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02F1327-2D96-45CA-8CDF-977A3A2AEBEB}"/>
                  </a:ext>
                </a:extLst>
              </p:cNvPr>
              <p:cNvSpPr txBox="1"/>
              <p:nvPr/>
            </p:nvSpPr>
            <p:spPr>
              <a:xfrm>
                <a:off x="2390307" y="5435116"/>
                <a:ext cx="9431580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379C0DC3-A8F1-B607-8791-EF3B0DB37142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7131824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1" name="Группа 80">
              <a:extLst>
                <a:ext uri="{FF2B5EF4-FFF2-40B4-BE49-F238E27FC236}">
                  <a16:creationId xmlns:a16="http://schemas.microsoft.com/office/drawing/2014/main" id="{CEF22472-C791-13A0-AD7C-FFE6FF1BD963}"/>
                </a:ext>
              </a:extLst>
            </p:cNvPr>
            <p:cNvGrpSpPr/>
            <p:nvPr/>
          </p:nvGrpSpPr>
          <p:grpSpPr>
            <a:xfrm>
              <a:off x="1193017" y="6407308"/>
              <a:ext cx="12861482" cy="522122"/>
              <a:chOff x="1193017" y="6320124"/>
              <a:chExt cx="12861482" cy="522122"/>
            </a:xfrm>
          </p:grpSpPr>
          <p:sp>
            <p:nvSpPr>
              <p:cNvPr id="24" name="Равнобедренный треугольник 23">
                <a:extLst>
                  <a:ext uri="{FF2B5EF4-FFF2-40B4-BE49-F238E27FC236}">
                    <a16:creationId xmlns:a16="http://schemas.microsoft.com/office/drawing/2014/main" id="{509DA3A7-4F6D-8606-739D-0BCAFBD1FC7D}"/>
                  </a:ext>
                </a:extLst>
              </p:cNvPr>
              <p:cNvSpPr/>
              <p:nvPr/>
            </p:nvSpPr>
            <p:spPr>
              <a:xfrm rot="5400000">
                <a:off x="1663141" y="6506505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6FBE207F-7DF2-3241-BC16-809CEDF7F1A4}"/>
                  </a:ext>
                </a:extLst>
              </p:cNvPr>
              <p:cNvSpPr txBox="1"/>
              <p:nvPr/>
            </p:nvSpPr>
            <p:spPr>
              <a:xfrm>
                <a:off x="1193017" y="6459571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5</a:t>
                </a:r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77F137FA-1A6B-0854-E717-722C96277EAF}"/>
                  </a:ext>
                </a:extLst>
              </p:cNvPr>
              <p:cNvSpPr/>
              <p:nvPr/>
            </p:nvSpPr>
            <p:spPr>
              <a:xfrm>
                <a:off x="12512249" y="6395314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Совместно 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D177A32-144E-3CBC-14EF-7B0F4A52FEF9}"/>
                  </a:ext>
                </a:extLst>
              </p:cNvPr>
              <p:cNvSpPr txBox="1"/>
              <p:nvPr/>
            </p:nvSpPr>
            <p:spPr>
              <a:xfrm>
                <a:off x="2318515" y="6320124"/>
                <a:ext cx="10265521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50" name="Прямая соединительная линия 49">
              <a:extLst>
                <a:ext uri="{FF2B5EF4-FFF2-40B4-BE49-F238E27FC236}">
                  <a16:creationId xmlns:a16="http://schemas.microsoft.com/office/drawing/2014/main" id="{CD50615F-FE18-357D-9D1A-E731ED1B2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8024963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2" name="Группа 81">
              <a:extLst>
                <a:ext uri="{FF2B5EF4-FFF2-40B4-BE49-F238E27FC236}">
                  <a16:creationId xmlns:a16="http://schemas.microsoft.com/office/drawing/2014/main" id="{AF010FBC-EBE9-2F35-DC5F-ADE141B34DE2}"/>
                </a:ext>
              </a:extLst>
            </p:cNvPr>
            <p:cNvGrpSpPr/>
            <p:nvPr/>
          </p:nvGrpSpPr>
          <p:grpSpPr>
            <a:xfrm>
              <a:off x="1193017" y="7334218"/>
              <a:ext cx="12861482" cy="1152950"/>
              <a:chOff x="1193017" y="7271652"/>
              <a:chExt cx="12861482" cy="1152950"/>
            </a:xfrm>
          </p:grpSpPr>
          <p:sp>
            <p:nvSpPr>
              <p:cNvPr id="55" name="Равнобедренный треугольник 54">
                <a:extLst>
                  <a:ext uri="{FF2B5EF4-FFF2-40B4-BE49-F238E27FC236}">
                    <a16:creationId xmlns:a16="http://schemas.microsoft.com/office/drawing/2014/main" id="{8139C593-0DB8-CDED-D96D-22EA19581B70}"/>
                  </a:ext>
                </a:extLst>
              </p:cNvPr>
              <p:cNvSpPr/>
              <p:nvPr/>
            </p:nvSpPr>
            <p:spPr>
              <a:xfrm rot="5400000">
                <a:off x="1663141" y="7424262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BFA5D03D-FAD9-CD3C-53AB-77FD79E92EBE}"/>
                  </a:ext>
                </a:extLst>
              </p:cNvPr>
              <p:cNvSpPr txBox="1"/>
              <p:nvPr/>
            </p:nvSpPr>
            <p:spPr>
              <a:xfrm>
                <a:off x="1193017" y="7377329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6</a:t>
                </a:r>
              </a:p>
            </p:txBody>
          </p:sp>
          <p:sp>
            <p:nvSpPr>
              <p:cNvPr id="60" name="Прямоугольник 59">
                <a:extLst>
                  <a:ext uri="{FF2B5EF4-FFF2-40B4-BE49-F238E27FC236}">
                    <a16:creationId xmlns:a16="http://schemas.microsoft.com/office/drawing/2014/main" id="{DECB55D9-6F80-E870-9693-98D492DE01BC}"/>
                  </a:ext>
                </a:extLst>
              </p:cNvPr>
              <p:cNvSpPr/>
              <p:nvPr/>
            </p:nvSpPr>
            <p:spPr>
              <a:xfrm>
                <a:off x="12512249" y="7313071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  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87C1852-2F21-C78E-27AA-A8BB655562B1}"/>
                  </a:ext>
                </a:extLst>
              </p:cNvPr>
              <p:cNvSpPr txBox="1"/>
              <p:nvPr/>
            </p:nvSpPr>
            <p:spPr>
              <a:xfrm>
                <a:off x="2318513" y="8147499"/>
                <a:ext cx="10265521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62" name="Прямая соединительная линия 61">
              <a:extLst>
                <a:ext uri="{FF2B5EF4-FFF2-40B4-BE49-F238E27FC236}">
                  <a16:creationId xmlns:a16="http://schemas.microsoft.com/office/drawing/2014/main" id="{AB1F3F0E-7128-FA7B-7E6E-A9895274C8C5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8918102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3" name="Группа 82">
              <a:extLst>
                <a:ext uri="{FF2B5EF4-FFF2-40B4-BE49-F238E27FC236}">
                  <a16:creationId xmlns:a16="http://schemas.microsoft.com/office/drawing/2014/main" id="{53FFAF43-BD0D-6B27-252E-EE946010A1C7}"/>
                </a:ext>
              </a:extLst>
            </p:cNvPr>
            <p:cNvGrpSpPr/>
            <p:nvPr/>
          </p:nvGrpSpPr>
          <p:grpSpPr>
            <a:xfrm>
              <a:off x="1193017" y="8227357"/>
              <a:ext cx="12861482" cy="488351"/>
              <a:chOff x="1193017" y="8189409"/>
              <a:chExt cx="12861482" cy="488351"/>
            </a:xfrm>
          </p:grpSpPr>
          <p:sp>
            <p:nvSpPr>
              <p:cNvPr id="64" name="Равнобедренный треугольник 63">
                <a:extLst>
                  <a:ext uri="{FF2B5EF4-FFF2-40B4-BE49-F238E27FC236}">
                    <a16:creationId xmlns:a16="http://schemas.microsoft.com/office/drawing/2014/main" id="{56BDC9C1-609D-EC15-E855-925E827D8AAF}"/>
                  </a:ext>
                </a:extLst>
              </p:cNvPr>
              <p:cNvSpPr/>
              <p:nvPr/>
            </p:nvSpPr>
            <p:spPr>
              <a:xfrm rot="5400000">
                <a:off x="1663141" y="8342019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DB0A63E9-AE96-0298-5EAD-42A76FD1C551}"/>
                  </a:ext>
                </a:extLst>
              </p:cNvPr>
              <p:cNvSpPr txBox="1"/>
              <p:nvPr/>
            </p:nvSpPr>
            <p:spPr>
              <a:xfrm>
                <a:off x="1193017" y="8295086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7</a:t>
                </a:r>
              </a:p>
            </p:txBody>
          </p:sp>
          <p:sp>
            <p:nvSpPr>
              <p:cNvPr id="66" name="Прямоугольник 65">
                <a:extLst>
                  <a:ext uri="{FF2B5EF4-FFF2-40B4-BE49-F238E27FC236}">
                    <a16:creationId xmlns:a16="http://schemas.microsoft.com/office/drawing/2014/main" id="{792F235D-4762-3D11-C731-00B439C4823A}"/>
                  </a:ext>
                </a:extLst>
              </p:cNvPr>
              <p:cNvSpPr/>
              <p:nvPr/>
            </p:nvSpPr>
            <p:spPr>
              <a:xfrm>
                <a:off x="12512249" y="8230828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обрнауки  </a:t>
                </a:r>
              </a:p>
            </p:txBody>
          </p:sp>
        </p:grpSp>
        <p:cxnSp>
          <p:nvCxnSpPr>
            <p:cNvPr id="68" name="Прямая соединительная линия 67">
              <a:extLst>
                <a:ext uri="{FF2B5EF4-FFF2-40B4-BE49-F238E27FC236}">
                  <a16:creationId xmlns:a16="http://schemas.microsoft.com/office/drawing/2014/main" id="{0B7169FA-852D-5225-54E2-184227F21236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9811248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4" name="Группа 83">
              <a:extLst>
                <a:ext uri="{FF2B5EF4-FFF2-40B4-BE49-F238E27FC236}">
                  <a16:creationId xmlns:a16="http://schemas.microsoft.com/office/drawing/2014/main" id="{93B993D1-5B00-7875-087B-7FDA26F6FE15}"/>
                </a:ext>
              </a:extLst>
            </p:cNvPr>
            <p:cNvGrpSpPr/>
            <p:nvPr/>
          </p:nvGrpSpPr>
          <p:grpSpPr>
            <a:xfrm>
              <a:off x="1193017" y="8986200"/>
              <a:ext cx="12861480" cy="816998"/>
              <a:chOff x="1193017" y="8972870"/>
              <a:chExt cx="12861480" cy="816998"/>
            </a:xfrm>
          </p:grpSpPr>
          <p:sp>
            <p:nvSpPr>
              <p:cNvPr id="70" name="Равнобедренный треугольник 69">
                <a:extLst>
                  <a:ext uri="{FF2B5EF4-FFF2-40B4-BE49-F238E27FC236}">
                    <a16:creationId xmlns:a16="http://schemas.microsoft.com/office/drawing/2014/main" id="{B7D4F84E-313A-517C-10ED-8C6F4D3039F5}"/>
                  </a:ext>
                </a:extLst>
              </p:cNvPr>
              <p:cNvSpPr/>
              <p:nvPr/>
            </p:nvSpPr>
            <p:spPr>
              <a:xfrm rot="5400000">
                <a:off x="1663141" y="9259776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45E64AAC-B5DA-75A9-C51C-9146D508C5B5}"/>
                  </a:ext>
                </a:extLst>
              </p:cNvPr>
              <p:cNvSpPr txBox="1"/>
              <p:nvPr/>
            </p:nvSpPr>
            <p:spPr>
              <a:xfrm>
                <a:off x="1193017" y="9212843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8</a:t>
                </a:r>
              </a:p>
            </p:txBody>
          </p:sp>
          <p:sp>
            <p:nvSpPr>
              <p:cNvPr id="72" name="Прямоугольник 71">
                <a:extLst>
                  <a:ext uri="{FF2B5EF4-FFF2-40B4-BE49-F238E27FC236}">
                    <a16:creationId xmlns:a16="http://schemas.microsoft.com/office/drawing/2014/main" id="{AF8505EC-0E1B-5666-3B67-0346B7EBB125}"/>
                  </a:ext>
                </a:extLst>
              </p:cNvPr>
              <p:cNvSpPr/>
              <p:nvPr/>
            </p:nvSpPr>
            <p:spPr>
              <a:xfrm>
                <a:off x="12512247" y="8972870"/>
                <a:ext cx="1542250" cy="816998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Рособрнадзор</a:t>
                </a:r>
              </a:p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Минобрнауки </a:t>
                </a:r>
              </a:p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Минпросвещения  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9910BBA5-AEDD-66B0-BAB5-259C96D1D63E}"/>
                  </a:ext>
                </a:extLst>
              </p:cNvPr>
              <p:cNvSpPr txBox="1"/>
              <p:nvPr/>
            </p:nvSpPr>
            <p:spPr>
              <a:xfrm>
                <a:off x="2257145" y="9083414"/>
                <a:ext cx="10265521" cy="5278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00" b="0" dirty="0">
                    <a:ea typeface="Times New Roman" panose="02020603050405020304" pitchFamily="18" charset="0"/>
                  </a:rPr>
                  <a:t>Нормативные правовые акты, устанавливающие состав сведений для  государственных информационных систем мониторингов  в сфере образования</a:t>
                </a:r>
                <a:endParaRPr lang="ru-RU" sz="1100" b="0" dirty="0"/>
              </a:p>
            </p:txBody>
          </p:sp>
        </p:grp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8F89A553-DAC9-ECB5-A068-F0E1AE252214}"/>
                </a:ext>
              </a:extLst>
            </p:cNvPr>
            <p:cNvSpPr/>
            <p:nvPr/>
          </p:nvSpPr>
          <p:spPr>
            <a:xfrm>
              <a:off x="1193017" y="1996225"/>
              <a:ext cx="11319232" cy="460404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183" rtlCol="0" anchor="ctr"/>
            <a:lstStyle/>
            <a:p>
              <a:pPr algn="ctr"/>
              <a:r>
                <a:rPr lang="ru-RU" sz="1283" b="1" dirty="0"/>
                <a:t>Содержание поправки </a:t>
              </a:r>
            </a:p>
          </p:txBody>
        </p:sp>
        <p:sp>
          <p:nvSpPr>
            <p:cNvPr id="76" name="Прямоугольник 75">
              <a:extLst>
                <a:ext uri="{FF2B5EF4-FFF2-40B4-BE49-F238E27FC236}">
                  <a16:creationId xmlns:a16="http://schemas.microsoft.com/office/drawing/2014/main" id="{6F3C206A-C2FC-2CB6-4F16-38097060DE4C}"/>
                </a:ext>
              </a:extLst>
            </p:cNvPr>
            <p:cNvSpPr/>
            <p:nvPr/>
          </p:nvSpPr>
          <p:spPr>
            <a:xfrm>
              <a:off x="12512248" y="1996225"/>
              <a:ext cx="1542249" cy="460404"/>
            </a:xfrm>
            <a:prstGeom prst="rect">
              <a:avLst/>
            </a:prstGeom>
            <a:solidFill>
              <a:srgbClr val="CDC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3091" bIns="23091" rtlCol="0" anchor="ctr"/>
            <a:lstStyle/>
            <a:p>
              <a:pPr algn="ctr"/>
              <a:r>
                <a:rPr lang="ru-RU" sz="1026" b="1" dirty="0">
                  <a:solidFill>
                    <a:srgbClr val="423D67"/>
                  </a:solidFill>
                </a:rPr>
                <a:t>Ведомство </a:t>
              </a:r>
            </a:p>
          </p:txBody>
        </p:sp>
      </p:grpSp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НЕОБХОДИМЫЕ ДОКУМЕНТЫ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34B7D7-5C9C-D420-E171-6D398A283B40}"/>
              </a:ext>
            </a:extLst>
          </p:cNvPr>
          <p:cNvSpPr txBox="1"/>
          <p:nvPr/>
        </p:nvSpPr>
        <p:spPr>
          <a:xfrm>
            <a:off x="1751409" y="5394507"/>
            <a:ext cx="8422321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algn="r">
              <a:defRPr sz="2400" b="1">
                <a:solidFill>
                  <a:srgbClr val="423D6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b="0" dirty="0">
                <a:ea typeface="Calibri" panose="020F0502020204030204" pitchFamily="34" charset="0"/>
              </a:rPr>
              <a:t>Об утверждении оснований представления информации и документов в государственные органы и органы местного самоуправления организациями, осуществляющими образовательную деятельность, реализующими образовательные программы высшего образования, в связи с реализацией ими соответствующих образовательных программ</a:t>
            </a:r>
            <a:endParaRPr lang="ru-RU" sz="1100" b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8986D7-5B0E-D5D8-4CAE-48CA131706BF}"/>
              </a:ext>
            </a:extLst>
          </p:cNvPr>
          <p:cNvSpPr txBox="1"/>
          <p:nvPr/>
        </p:nvSpPr>
        <p:spPr>
          <a:xfrm>
            <a:off x="1751409" y="2803560"/>
            <a:ext cx="8306989" cy="444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algn="r">
              <a:defRPr sz="2400" b="1">
                <a:solidFill>
                  <a:srgbClr val="423D6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lnSpc>
                <a:spcPct val="150000"/>
              </a:lnSpc>
            </a:pPr>
            <a:r>
              <a:rPr lang="ru-RU" sz="1026" b="0" dirty="0">
                <a:ea typeface="Times New Roman" panose="02020603050405020304" pitchFamily="18" charset="0"/>
              </a:rPr>
              <a:t>Приказ «Об утверждении перечня документации, подготовка которой </a:t>
            </a:r>
            <a:r>
              <a:rPr lang="ru-RU" sz="1026" b="0" dirty="0">
                <a:ea typeface="Calibri" panose="020F0502020204030204" pitchFamily="34" charset="0"/>
              </a:rPr>
              <a:t>осуществляется педагогическими работниками при реализации образовательных программ высшего образования»</a:t>
            </a:r>
            <a:endParaRPr lang="ru-RU" sz="1026" b="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48B492F-83F0-EC8E-3397-4A263B4A0346}"/>
              </a:ext>
            </a:extLst>
          </p:cNvPr>
          <p:cNvSpPr txBox="1"/>
          <p:nvPr/>
        </p:nvSpPr>
        <p:spPr>
          <a:xfrm>
            <a:off x="1682197" y="3437284"/>
            <a:ext cx="8491533" cy="481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898" dirty="0">
                <a:ea typeface="Calibri" panose="020F0502020204030204" pitchFamily="34" charset="0"/>
              </a:rPr>
              <a:t>Приказ «Об утверждении перечня документации, подготовка которой осуществляется организациями, осуществляющими образовательную деятельность, в связи с реализацией ими основных общеобразовательных программ и образовательных программ среднего профессионального образования»</a:t>
            </a:r>
            <a:endParaRPr lang="ru-RU" sz="898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6CF6236-023C-353B-ED26-DF5467CE65F0}"/>
              </a:ext>
            </a:extLst>
          </p:cNvPr>
          <p:cNvSpPr txBox="1"/>
          <p:nvPr/>
        </p:nvSpPr>
        <p:spPr>
          <a:xfrm>
            <a:off x="1698179" y="4099783"/>
            <a:ext cx="8376201" cy="5688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0" dirty="0">
                <a:ea typeface="Calibri" panose="020F0502020204030204" pitchFamily="34" charset="0"/>
              </a:rPr>
              <a:t>Приказ «Об утверждении перечня документации, подготовка которой осуществляется организациями, осуществляющими образовательную деятельность, в связи с реализацией ими образовательных программ высшего образования»</a:t>
            </a:r>
            <a:endParaRPr lang="ru-RU" sz="11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F31585-05C2-FBAB-1E5D-253277558211}"/>
              </a:ext>
            </a:extLst>
          </p:cNvPr>
          <p:cNvSpPr txBox="1"/>
          <p:nvPr/>
        </p:nvSpPr>
        <p:spPr>
          <a:xfrm>
            <a:off x="1644400" y="4710012"/>
            <a:ext cx="870592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00" dirty="0">
                <a:ea typeface="Calibri" panose="020F0502020204030204" pitchFamily="34" charset="0"/>
              </a:rPr>
              <a:t>Об утверждении оснований представления информации и документов в государственные органы и органы местного самоуправления организациями, осуществляющими образовательную деятельность, реализующими основные общеобразовательные программы и образовательные программы среднего профессионального образования, в связи с реализацией соответствующих образовательных программ</a:t>
            </a:r>
            <a:endParaRPr lang="ru-RU" sz="10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81C4708-05CE-A088-BD4C-18C5E387BFA4}"/>
              </a:ext>
            </a:extLst>
          </p:cNvPr>
          <p:cNvSpPr txBox="1"/>
          <p:nvPr/>
        </p:nvSpPr>
        <p:spPr>
          <a:xfrm>
            <a:off x="7684294" y="384108"/>
            <a:ext cx="1704313" cy="2700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55" dirty="0"/>
              <a:t>До 1 марта 2024 года </a:t>
            </a:r>
          </a:p>
        </p:txBody>
      </p:sp>
    </p:spTree>
    <p:extLst>
      <p:ext uri="{BB962C8B-B14F-4D97-AF65-F5344CB8AC3E}">
        <p14:creationId xmlns:p14="http://schemas.microsoft.com/office/powerpoint/2010/main" val="20851622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935608" y="513978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ИНЯТЫЕ МЕРЫ В 2022 ГОДУ  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C868FDF1-DDF8-336D-DCFE-A93E8009720F}"/>
              </a:ext>
            </a:extLst>
          </p:cNvPr>
          <p:cNvCxnSpPr>
            <a:cxnSpLocks/>
          </p:cNvCxnSpPr>
          <p:nvPr/>
        </p:nvCxnSpPr>
        <p:spPr>
          <a:xfrm>
            <a:off x="5971667" y="2181013"/>
            <a:ext cx="0" cy="4293928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7F582E1-6175-FB39-758C-A661B4C2CF59}"/>
              </a:ext>
            </a:extLst>
          </p:cNvPr>
          <p:cNvSpPr/>
          <p:nvPr/>
        </p:nvSpPr>
        <p:spPr>
          <a:xfrm>
            <a:off x="1501476" y="2317779"/>
            <a:ext cx="3872945" cy="615446"/>
          </a:xfrm>
          <a:prstGeom prst="rect">
            <a:avLst/>
          </a:prstGeom>
          <a:solidFill>
            <a:srgbClr val="CDCDE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9" b="1" dirty="0">
                <a:solidFill>
                  <a:srgbClr val="423D67"/>
                </a:solidFill>
              </a:rPr>
              <a:t>Федеральный уровень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EE8F363-2F98-7630-6D1A-975E0304CC0F}"/>
              </a:ext>
            </a:extLst>
          </p:cNvPr>
          <p:cNvSpPr/>
          <p:nvPr/>
        </p:nvSpPr>
        <p:spPr>
          <a:xfrm>
            <a:off x="6568914" y="2317779"/>
            <a:ext cx="3872945" cy="61544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9" b="1" dirty="0">
                <a:solidFill>
                  <a:srgbClr val="423D67"/>
                </a:solidFill>
              </a:rPr>
              <a:t>Региональный уровень </a:t>
            </a:r>
          </a:p>
        </p:txBody>
      </p:sp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9860F72B-7372-B82D-2874-3DDAD75224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9431524"/>
              </p:ext>
            </p:extLst>
          </p:nvPr>
        </p:nvGraphicFramePr>
        <p:xfrm>
          <a:off x="5476992" y="3422821"/>
          <a:ext cx="6064215" cy="2798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Объект 3">
            <a:extLst>
              <a:ext uri="{FF2B5EF4-FFF2-40B4-BE49-F238E27FC236}">
                <a16:creationId xmlns:a16="http://schemas.microsoft.com/office/drawing/2014/main" id="{F1651922-166A-1918-67E9-2BA14491B8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4668385"/>
              </p:ext>
            </p:extLst>
          </p:nvPr>
        </p:nvGraphicFramePr>
        <p:xfrm>
          <a:off x="444844" y="3429000"/>
          <a:ext cx="5986210" cy="2798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524917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913752" y="503759"/>
            <a:ext cx="642727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НЕОБХОДИМЫЕ  ПОПРАВКИ В 2023 ГОДУ  </a:t>
            </a:r>
          </a:p>
        </p:txBody>
      </p:sp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BBED65B6-9536-C59D-A091-B256B778E53F}"/>
              </a:ext>
            </a:extLst>
          </p:cNvPr>
          <p:cNvGraphicFramePr/>
          <p:nvPr/>
        </p:nvGraphicFramePr>
        <p:xfrm>
          <a:off x="1913752" y="1436851"/>
          <a:ext cx="6465290" cy="4310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EE9C64A-90C3-3EC3-C2BC-FFE86516B700}"/>
              </a:ext>
            </a:extLst>
          </p:cNvPr>
          <p:cNvCxnSpPr>
            <a:cxnSpLocks/>
          </p:cNvCxnSpPr>
          <p:nvPr/>
        </p:nvCxnSpPr>
        <p:spPr>
          <a:xfrm>
            <a:off x="1652010" y="3557795"/>
            <a:ext cx="8818738" cy="34153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492D3B5-3462-C934-5579-6CDC60E6EE89}"/>
              </a:ext>
            </a:extLst>
          </p:cNvPr>
          <p:cNvSpPr txBox="1"/>
          <p:nvPr/>
        </p:nvSpPr>
        <p:spPr>
          <a:xfrm>
            <a:off x="8787996" y="2311166"/>
            <a:ext cx="21930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одготовлены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9E5394-25EA-FE96-0EE0-E72AFC7CA557}"/>
              </a:ext>
            </a:extLst>
          </p:cNvPr>
          <p:cNvSpPr txBox="1"/>
          <p:nvPr/>
        </p:nvSpPr>
        <p:spPr>
          <a:xfrm>
            <a:off x="8787996" y="4528140"/>
            <a:ext cx="25825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Не подготовлены </a:t>
            </a:r>
          </a:p>
        </p:txBody>
      </p:sp>
    </p:spTree>
    <p:extLst>
      <p:ext uri="{BB962C8B-B14F-4D97-AF65-F5344CB8AC3E}">
        <p14:creationId xmlns:p14="http://schemas.microsoft.com/office/powerpoint/2010/main" val="2707906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8377815-A14D-92D0-ADD8-FEBF7F73BF3A}"/>
              </a:ext>
            </a:extLst>
          </p:cNvPr>
          <p:cNvSpPr/>
          <p:nvPr/>
        </p:nvSpPr>
        <p:spPr>
          <a:xfrm>
            <a:off x="1103312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788E043-9D31-BA0D-C3A0-339CF343FFC6}"/>
              </a:ext>
            </a:extLst>
          </p:cNvPr>
          <p:cNvSpPr/>
          <p:nvPr/>
        </p:nvSpPr>
        <p:spPr>
          <a:xfrm>
            <a:off x="4061435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8558599-DB98-595D-C44B-9D8B12203215}"/>
              </a:ext>
            </a:extLst>
          </p:cNvPr>
          <p:cNvSpPr/>
          <p:nvPr/>
        </p:nvSpPr>
        <p:spPr>
          <a:xfrm>
            <a:off x="4061435" y="391197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57E3C86-D638-C5FD-4F63-C64EC56B3CB4}"/>
              </a:ext>
            </a:extLst>
          </p:cNvPr>
          <p:cNvSpPr/>
          <p:nvPr/>
        </p:nvSpPr>
        <p:spPr>
          <a:xfrm>
            <a:off x="7019558" y="3854364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7CA0001-105E-0303-06E9-FD85476C8F8D}"/>
              </a:ext>
            </a:extLst>
          </p:cNvPr>
          <p:cNvSpPr/>
          <p:nvPr/>
        </p:nvSpPr>
        <p:spPr>
          <a:xfrm>
            <a:off x="7019558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42 региона</a:t>
            </a:r>
          </a:p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b="1" dirty="0">
                <a:solidFill>
                  <a:schemeClr val="tx1"/>
                </a:solidFill>
              </a:rPr>
              <a:t>28 889 участников</a:t>
            </a:r>
          </a:p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b="1" dirty="0">
                <a:solidFill>
                  <a:schemeClr val="tx1"/>
                </a:solidFill>
              </a:rPr>
              <a:t>944 школы 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FC23BD6-9E45-0F6B-E834-CF63EC0F7797}"/>
              </a:ext>
            </a:extLst>
          </p:cNvPr>
          <p:cNvSpPr/>
          <p:nvPr/>
        </p:nvSpPr>
        <p:spPr>
          <a:xfrm>
            <a:off x="1103312" y="391197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D7F7BD-4872-B943-FA32-060AB4C6FC15}"/>
              </a:ext>
            </a:extLst>
          </p:cNvPr>
          <p:cNvSpPr txBox="1"/>
          <p:nvPr/>
        </p:nvSpPr>
        <p:spPr>
          <a:xfrm>
            <a:off x="4504411" y="2282448"/>
            <a:ext cx="2004348" cy="1242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Обучающиеся </a:t>
            </a:r>
          </a:p>
          <a:p>
            <a:r>
              <a:rPr lang="ru-RU" b="1" dirty="0"/>
              <a:t>Родители </a:t>
            </a:r>
          </a:p>
          <a:p>
            <a:r>
              <a:rPr lang="ru-RU" b="1" dirty="0"/>
              <a:t>Учителя </a:t>
            </a:r>
          </a:p>
          <a:p>
            <a:r>
              <a:rPr lang="ru-RU" b="1" dirty="0"/>
              <a:t>Руководители</a:t>
            </a:r>
            <a:r>
              <a:rPr lang="ru-RU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09E57B-7AB7-4762-DD31-F22CABA69195}"/>
              </a:ext>
            </a:extLst>
          </p:cNvPr>
          <p:cNvSpPr txBox="1"/>
          <p:nvPr/>
        </p:nvSpPr>
        <p:spPr>
          <a:xfrm>
            <a:off x="1836615" y="2610337"/>
            <a:ext cx="1460884" cy="38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2019 - 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0B8958-9826-B819-F2C7-3CEC8D32B531}"/>
              </a:ext>
            </a:extLst>
          </p:cNvPr>
          <p:cNvSpPr txBox="1"/>
          <p:nvPr/>
        </p:nvSpPr>
        <p:spPr>
          <a:xfrm>
            <a:off x="4067044" y="4358422"/>
            <a:ext cx="2745142" cy="669198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Выявление ключевых </a:t>
            </a:r>
          </a:p>
          <a:p>
            <a:r>
              <a:rPr lang="ru-RU" b="1" dirty="0"/>
              <a:t>факторов </a:t>
            </a:r>
            <a:r>
              <a:rPr lang="ru-RU" dirty="0"/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98ECCA-B061-A527-6626-8F5E93CF6885}"/>
              </a:ext>
            </a:extLst>
          </p:cNvPr>
          <p:cNvSpPr txBox="1"/>
          <p:nvPr/>
        </p:nvSpPr>
        <p:spPr>
          <a:xfrm>
            <a:off x="1783716" y="4360893"/>
            <a:ext cx="1514260" cy="669198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Выявление </a:t>
            </a:r>
          </a:p>
          <a:p>
            <a:r>
              <a:rPr lang="ru-RU" b="1" dirty="0"/>
              <a:t>проблем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CE5D7A-50C4-9D7E-68D8-2C39B8B020F2}"/>
              </a:ext>
            </a:extLst>
          </p:cNvPr>
          <p:cNvSpPr txBox="1"/>
          <p:nvPr/>
        </p:nvSpPr>
        <p:spPr>
          <a:xfrm>
            <a:off x="7116940" y="3989755"/>
            <a:ext cx="2554282" cy="1529595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Удовлетворенность</a:t>
            </a:r>
          </a:p>
          <a:p>
            <a:endParaRPr lang="ru-RU" b="1" dirty="0"/>
          </a:p>
          <a:p>
            <a:r>
              <a:rPr lang="ru-RU" b="1" dirty="0"/>
              <a:t>Вовлеченность </a:t>
            </a:r>
          </a:p>
          <a:p>
            <a:endParaRPr lang="ru-RU" b="1" dirty="0"/>
          </a:p>
          <a:p>
            <a:r>
              <a:rPr lang="ru-RU" b="1" dirty="0"/>
              <a:t>Востребованность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266D52-EC88-D508-FB61-2D1F791CB793}"/>
              </a:ext>
            </a:extLst>
          </p:cNvPr>
          <p:cNvSpPr txBox="1"/>
          <p:nvPr/>
        </p:nvSpPr>
        <p:spPr>
          <a:xfrm>
            <a:off x="2994658" y="5869354"/>
            <a:ext cx="5436584" cy="669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Национальный проект «Образование» </a:t>
            </a:r>
          </a:p>
          <a:p>
            <a:r>
              <a:rPr lang="ru-RU" b="1" dirty="0"/>
              <a:t>Федеральный проект «Современная школа»</a:t>
            </a:r>
          </a:p>
        </p:txBody>
      </p:sp>
      <p:sp>
        <p:nvSpPr>
          <p:cNvPr id="14" name="Прямоугольник 12">
            <a:extLst>
              <a:ext uri="{FF2B5EF4-FFF2-40B4-BE49-F238E27FC236}">
                <a16:creationId xmlns:a16="http://schemas.microsoft.com/office/drawing/2014/main" id="{43C3CDD7-733B-E869-A5C9-1441594F45A3}"/>
              </a:ext>
            </a:extLst>
          </p:cNvPr>
          <p:cNvSpPr/>
          <p:nvPr/>
        </p:nvSpPr>
        <p:spPr>
          <a:xfrm>
            <a:off x="1483321" y="385199"/>
            <a:ext cx="5633619" cy="882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ЦЕНКА УДОВЛЕТВОРЕННОСТИ КАЧЕСТВОМ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8849120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537773" y="370125"/>
            <a:ext cx="866502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ЕРЕЧНИ ДОКУМЕНТОВ ПЕДАГОГОВ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2692820" y="1274117"/>
            <a:ext cx="7408298" cy="80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155" dirty="0"/>
          </a:p>
          <a:p>
            <a:endParaRPr lang="ru-RU" sz="1155" dirty="0"/>
          </a:p>
          <a:p>
            <a:endParaRPr lang="ru-RU" sz="1155" dirty="0"/>
          </a:p>
          <a:p>
            <a:r>
              <a:rPr lang="ru-RU" sz="1155" dirty="0"/>
              <a:t>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D81000E-6CB2-AD59-04FB-BBE02A4DF18D}"/>
              </a:ext>
            </a:extLst>
          </p:cNvPr>
          <p:cNvSpPr/>
          <p:nvPr/>
        </p:nvSpPr>
        <p:spPr>
          <a:xfrm>
            <a:off x="744339" y="1388161"/>
            <a:ext cx="2498656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Воспитатель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посещаемости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Календарно-тематический план  </a:t>
            </a:r>
          </a:p>
          <a:p>
            <a:pPr marL="342900" indent="-342900">
              <a:buAutoNum type="arabicPeriod"/>
            </a:pPr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92BD6E8-46B8-4448-2E18-AEAFAB8D1C40}"/>
              </a:ext>
            </a:extLst>
          </p:cNvPr>
          <p:cNvSpPr/>
          <p:nvPr/>
        </p:nvSpPr>
        <p:spPr>
          <a:xfrm>
            <a:off x="3490955" y="1388161"/>
            <a:ext cx="2575274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Учитель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абочая программа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внеурочной деятельн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План воспитательной работы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Характеристика на обучающегося по запросу</a:t>
            </a:r>
          </a:p>
          <a:p>
            <a:pPr algn="ctr"/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EC3D4BA-DD85-B186-EDFF-129341C9B0C3}"/>
              </a:ext>
            </a:extLst>
          </p:cNvPr>
          <p:cNvSpPr/>
          <p:nvPr/>
        </p:nvSpPr>
        <p:spPr>
          <a:xfrm>
            <a:off x="6314189" y="1388161"/>
            <a:ext cx="2506770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Преподаватель  СПО 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абочая программа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практик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Экзаменационная</a:t>
            </a:r>
            <a:r>
              <a:rPr lang="en-US" sz="1400" dirty="0">
                <a:solidFill>
                  <a:srgbClr val="423D67"/>
                </a:solidFill>
              </a:rPr>
              <a:t>/</a:t>
            </a:r>
            <a:r>
              <a:rPr lang="ru-RU" sz="1400" dirty="0">
                <a:solidFill>
                  <a:srgbClr val="423D67"/>
                </a:solidFill>
              </a:rPr>
              <a:t> зачетная ведо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ецензия на дипломный проект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План воспитательной работы (для куратора)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Характеристика на обучающегося по запросу (для куратора)</a:t>
            </a: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A8732A9-FE62-CBDC-9F7D-1DF566799480}"/>
              </a:ext>
            </a:extLst>
          </p:cNvPr>
          <p:cNvSpPr/>
          <p:nvPr/>
        </p:nvSpPr>
        <p:spPr>
          <a:xfrm>
            <a:off x="9068919" y="1388161"/>
            <a:ext cx="2575273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Преподаватель </a:t>
            </a: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вуза 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абочая программа дисциплины, модуля, курса, практики. </a:t>
            </a: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ый план работы преподавателя </a:t>
            </a: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Экзаменационная и (или) зачетная ведомость </a:t>
            </a:r>
          </a:p>
          <a:p>
            <a:pPr marL="342900" lvl="0" indent="-342900">
              <a:spcAft>
                <a:spcPts val="800"/>
              </a:spcAft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Журнал и (или) ведомость текущего контроля (по решению вуза)</a:t>
            </a:r>
          </a:p>
          <a:p>
            <a:pPr marL="342900" lvl="0" indent="-342900">
              <a:spcAft>
                <a:spcPts val="800"/>
              </a:spcAft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цензия на ВКР</a:t>
            </a:r>
            <a:endParaRPr lang="ru-RU" sz="1400" kern="100" dirty="0">
              <a:solidFill>
                <a:srgbClr val="423D67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4EAB9A-6B12-5758-AD37-DED8CEE9F4F3}"/>
              </a:ext>
            </a:extLst>
          </p:cNvPr>
          <p:cNvSpPr txBox="1"/>
          <p:nvPr/>
        </p:nvSpPr>
        <p:spPr>
          <a:xfrm>
            <a:off x="3892172" y="6053228"/>
            <a:ext cx="54850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C00000"/>
                </a:solidFill>
              </a:rPr>
              <a:t>К 1 сентября 2023 года  </a:t>
            </a:r>
          </a:p>
        </p:txBody>
      </p:sp>
    </p:spTree>
    <p:extLst>
      <p:ext uri="{BB962C8B-B14F-4D97-AF65-F5344CB8AC3E}">
        <p14:creationId xmlns:p14="http://schemas.microsoft.com/office/powerpoint/2010/main" val="31273303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742883" y="259106"/>
            <a:ext cx="866502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БРАЗ РЕЗУЛЬТАТА (федеральный уровень)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2496877" y="1871276"/>
            <a:ext cx="7408298" cy="80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155" dirty="0"/>
          </a:p>
          <a:p>
            <a:endParaRPr lang="ru-RU" sz="1155" dirty="0"/>
          </a:p>
          <a:p>
            <a:endParaRPr lang="ru-RU" sz="1155" dirty="0"/>
          </a:p>
          <a:p>
            <a:r>
              <a:rPr lang="ru-RU" sz="1155" dirty="0"/>
              <a:t>  </a:t>
            </a: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95B65E2-B57C-BF2F-515F-4E9B05E4D6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236137"/>
              </p:ext>
            </p:extLst>
          </p:nvPr>
        </p:nvGraphicFramePr>
        <p:xfrm>
          <a:off x="1856792" y="1273904"/>
          <a:ext cx="8551117" cy="49746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3974">
                  <a:extLst>
                    <a:ext uri="{9D8B030D-6E8A-4147-A177-3AD203B41FA5}">
                      <a16:colId xmlns:a16="http://schemas.microsoft.com/office/drawing/2014/main" val="3536865043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2470547450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3834612085"/>
                    </a:ext>
                  </a:extLst>
                </a:gridCol>
                <a:gridCol w="910501">
                  <a:extLst>
                    <a:ext uri="{9D8B030D-6E8A-4147-A177-3AD203B41FA5}">
                      <a16:colId xmlns:a16="http://schemas.microsoft.com/office/drawing/2014/main" val="102961316"/>
                    </a:ext>
                  </a:extLst>
                </a:gridCol>
                <a:gridCol w="798784">
                  <a:extLst>
                    <a:ext uri="{9D8B030D-6E8A-4147-A177-3AD203B41FA5}">
                      <a16:colId xmlns:a16="http://schemas.microsoft.com/office/drawing/2014/main" val="2029369992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41017536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3009125920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1567068814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2164395506"/>
                    </a:ext>
                  </a:extLst>
                </a:gridCol>
              </a:tblGrid>
              <a:tr h="590428">
                <a:tc rowSpan="2">
                  <a:txBody>
                    <a:bodyPr/>
                    <a:lstStyle/>
                    <a:p>
                      <a:r>
                        <a:rPr lang="ru-RU" sz="1200" dirty="0"/>
                        <a:t>ПОКАЗАТЕЛИ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ДЕТСКИЙ САД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ШКОЛА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КОЛЛЕДЖ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ВУЗ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0161453"/>
                  </a:ext>
                </a:extLst>
              </a:tr>
              <a:tr h="2541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 Было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 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264925"/>
                  </a:ext>
                </a:extLst>
              </a:tr>
              <a:tr h="563745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документов педагога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3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6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2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130069"/>
                  </a:ext>
                </a:extLst>
              </a:tr>
              <a:tr h="665056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документов организации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4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2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7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7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1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244871"/>
                  </a:ext>
                </a:extLst>
              </a:tr>
              <a:tr h="528132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мониторингов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7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3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4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6438860"/>
                  </a:ext>
                </a:extLst>
              </a:tr>
              <a:tr h="586519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показателей мониторингов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13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576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18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76916"/>
                  </a:ext>
                </a:extLst>
              </a:tr>
              <a:tr h="593334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информационных систем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3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4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289162"/>
                  </a:ext>
                </a:extLst>
              </a:tr>
              <a:tr h="1114387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статистических данных, собираемых в информационных в информационных системах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6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500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17152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F5C56DE-C98E-E4B8-CD67-D7C361739B02}"/>
              </a:ext>
            </a:extLst>
          </p:cNvPr>
          <p:cNvSpPr/>
          <p:nvPr/>
        </p:nvSpPr>
        <p:spPr>
          <a:xfrm>
            <a:off x="1861481" y="6381315"/>
            <a:ext cx="499241" cy="4025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210BF-CCBB-8B82-12D2-CEC1BF971554}"/>
              </a:ext>
            </a:extLst>
          </p:cNvPr>
          <p:cNvSpPr txBox="1"/>
          <p:nvPr/>
        </p:nvSpPr>
        <p:spPr>
          <a:xfrm>
            <a:off x="2496877" y="6464117"/>
            <a:ext cx="8051194" cy="270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55" dirty="0"/>
              <a:t>Количество станет известным в ходе эксперимента по постановлению правительства РФ </a:t>
            </a:r>
          </a:p>
        </p:txBody>
      </p:sp>
    </p:spTree>
    <p:extLst>
      <p:ext uri="{BB962C8B-B14F-4D97-AF65-F5344CB8AC3E}">
        <p14:creationId xmlns:p14="http://schemas.microsoft.com/office/powerpoint/2010/main" val="2031701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227415-43EB-9E4D-222E-F278ECB7CFB4}"/>
              </a:ext>
            </a:extLst>
          </p:cNvPr>
          <p:cNvSpPr txBox="1"/>
          <p:nvPr/>
        </p:nvSpPr>
        <p:spPr>
          <a:xfrm>
            <a:off x="1810453" y="576509"/>
            <a:ext cx="9087702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ЭКСПЕРИМЕНТ ПО ПОСТАНОВЛЕНИЮ ПРАВИТЕЛЬСТВА РФ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4617A0-C083-2BF5-3A9E-1CBD026D990E}"/>
              </a:ext>
            </a:extLst>
          </p:cNvPr>
          <p:cNvSpPr txBox="1"/>
          <p:nvPr/>
        </p:nvSpPr>
        <p:spPr>
          <a:xfrm>
            <a:off x="1148316" y="2220035"/>
            <a:ext cx="4232697" cy="357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7A70C6"/>
                </a:solidFill>
              </a:rPr>
              <a:t>Пилотные регионы </a:t>
            </a:r>
          </a:p>
          <a:p>
            <a:r>
              <a:rPr lang="ru-RU" sz="2800" dirty="0">
                <a:solidFill>
                  <a:srgbClr val="7A70C6"/>
                </a:solidFill>
              </a:rPr>
              <a:t> </a:t>
            </a:r>
          </a:p>
          <a:p>
            <a:pPr marL="342900" indent="-342900">
              <a:buAutoNum type="arabicPeriod"/>
            </a:pPr>
            <a:r>
              <a:rPr lang="ru-RU" sz="2400" dirty="0"/>
              <a:t>г. Москва</a:t>
            </a:r>
          </a:p>
          <a:p>
            <a:pPr marL="342900" indent="-342900">
              <a:buAutoNum type="arabicPeriod"/>
            </a:pPr>
            <a:r>
              <a:rPr lang="ru-RU" sz="2400" dirty="0"/>
              <a:t> г. Санкт-Петербург </a:t>
            </a:r>
          </a:p>
          <a:p>
            <a:pPr marL="342900" indent="-342900">
              <a:buAutoNum type="arabicPeriod"/>
            </a:pPr>
            <a:r>
              <a:rPr lang="ru-RU" sz="2400" dirty="0"/>
              <a:t> Москов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Пензен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Нижегород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Новосибирская область  </a:t>
            </a:r>
          </a:p>
          <a:p>
            <a:pPr marL="342900" indent="-342900">
              <a:buAutoNum type="arabicPeriod"/>
            </a:pP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9D4636-E468-9C2D-70D0-17801DF0176D}"/>
              </a:ext>
            </a:extLst>
          </p:cNvPr>
          <p:cNvSpPr txBox="1"/>
          <p:nvPr/>
        </p:nvSpPr>
        <p:spPr>
          <a:xfrm>
            <a:off x="6354304" y="2297654"/>
            <a:ext cx="6294474" cy="3274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800" b="1" kern="100" dirty="0">
                <a:solidFill>
                  <a:srgbClr val="7A70C6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илотные образовательные организации </a:t>
            </a:r>
            <a:endParaRPr lang="ru-RU" sz="2000" kern="100" dirty="0">
              <a:solidFill>
                <a:srgbClr val="7A70C6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Всего 21, из них:</a:t>
            </a:r>
            <a:endParaRPr lang="ru-RU" sz="2000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ошкольного образования – 7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бщего образования - 7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ПО  – 6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узы - 4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6042825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227415-43EB-9E4D-222E-F278ECB7CFB4}"/>
              </a:ext>
            </a:extLst>
          </p:cNvPr>
          <p:cNvSpPr txBox="1"/>
          <p:nvPr/>
        </p:nvSpPr>
        <p:spPr>
          <a:xfrm>
            <a:off x="1810453" y="576509"/>
            <a:ext cx="749557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  ЗАДАЧИ ПИЛОТНЫХ ОРГАНИЗАЦИЙ  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F81EF3D9-AC82-A2CE-8900-441E1248AD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6954688"/>
              </p:ext>
            </p:extLst>
          </p:nvPr>
        </p:nvGraphicFramePr>
        <p:xfrm>
          <a:off x="609600" y="1499286"/>
          <a:ext cx="10280822" cy="46390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406247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2033CD1-1BB6-3D78-2BFA-82FEE9F78320}"/>
              </a:ext>
            </a:extLst>
          </p:cNvPr>
          <p:cNvSpPr txBox="1"/>
          <p:nvPr/>
        </p:nvSpPr>
        <p:spPr>
          <a:xfrm>
            <a:off x="1681018" y="576509"/>
            <a:ext cx="7625013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РЕГИОНАЛЬНЫЕ МЕРЫ ПО СНИЖЕНИЮ БЮРОКРАТИЧЕСКОЙ НАГРУЗКИ      </a:t>
            </a: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F5175D5C-C398-F6CC-F042-3D3311DDDD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6974206"/>
              </p:ext>
            </p:extLst>
          </p:nvPr>
        </p:nvGraphicFramePr>
        <p:xfrm>
          <a:off x="2047032" y="1968759"/>
          <a:ext cx="8097935" cy="44494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5012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F8A9E6D6-BCA7-1DD8-28DE-31F66F37415B}"/>
              </a:ext>
            </a:extLst>
          </p:cNvPr>
          <p:cNvSpPr/>
          <p:nvPr/>
        </p:nvSpPr>
        <p:spPr>
          <a:xfrm>
            <a:off x="1441622" y="398668"/>
            <a:ext cx="8715631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ОБЛЕМЫ, БЕСПОКОЯЩИЕ ОБУЧАЩИХСЯ  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32E7FBF5-8E8F-B694-614C-A06FA5F14A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1771971"/>
              </p:ext>
            </p:extLst>
          </p:nvPr>
        </p:nvGraphicFramePr>
        <p:xfrm>
          <a:off x="600502" y="2052917"/>
          <a:ext cx="10990996" cy="4195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35435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89DD1DDB-1E6F-0F7F-D4A5-3996002F1F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001459"/>
              </p:ext>
            </p:extLst>
          </p:nvPr>
        </p:nvGraphicFramePr>
        <p:xfrm>
          <a:off x="390769" y="2052638"/>
          <a:ext cx="11535507" cy="4195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01A39659-3A24-D65B-CDC3-FA421FB7290A}"/>
              </a:ext>
            </a:extLst>
          </p:cNvPr>
          <p:cNvSpPr/>
          <p:nvPr/>
        </p:nvSpPr>
        <p:spPr>
          <a:xfrm>
            <a:off x="1561385" y="382192"/>
            <a:ext cx="7310766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ОБЛЕМЫ, БЕСПОКОЯЩИЕ УЧИТЕЛЕЙ   </a:t>
            </a:r>
          </a:p>
        </p:txBody>
      </p:sp>
    </p:spTree>
    <p:extLst>
      <p:ext uri="{BB962C8B-B14F-4D97-AF65-F5344CB8AC3E}">
        <p14:creationId xmlns:p14="http://schemas.microsoft.com/office/powerpoint/2010/main" val="42333235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6D49DE45-092E-02DF-EAF5-CB5BAA0333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9390865"/>
              </p:ext>
            </p:extLst>
          </p:nvPr>
        </p:nvGraphicFramePr>
        <p:xfrm>
          <a:off x="485898" y="1438031"/>
          <a:ext cx="10268072" cy="50252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64EAF70E-8992-6175-8D0F-CF1A9D7F9C2F}"/>
              </a:ext>
            </a:extLst>
          </p:cNvPr>
          <p:cNvSpPr/>
          <p:nvPr/>
        </p:nvSpPr>
        <p:spPr>
          <a:xfrm>
            <a:off x="3538466" y="394677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ЗАМКНУТЫЙ КРУГ ПРОБЛЕМ   </a:t>
            </a:r>
          </a:p>
        </p:txBody>
      </p:sp>
    </p:spTree>
    <p:extLst>
      <p:ext uri="{BB962C8B-B14F-4D97-AF65-F5344CB8AC3E}">
        <p14:creationId xmlns:p14="http://schemas.microsoft.com/office/powerpoint/2010/main" val="24662934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6">
            <a:extLst>
              <a:ext uri="{FF2B5EF4-FFF2-40B4-BE49-F238E27FC236}">
                <a16:creationId xmlns:a16="http://schemas.microsoft.com/office/drawing/2014/main" id="{761D520D-2013-2EC4-987D-BE3C18EAD8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9364280"/>
              </p:ext>
            </p:extLst>
          </p:nvPr>
        </p:nvGraphicFramePr>
        <p:xfrm>
          <a:off x="158274" y="1523873"/>
          <a:ext cx="5735722" cy="51878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26152">
                  <a:extLst>
                    <a:ext uri="{9D8B030D-6E8A-4147-A177-3AD203B41FA5}">
                      <a16:colId xmlns:a16="http://schemas.microsoft.com/office/drawing/2014/main" val="2390517694"/>
                    </a:ext>
                  </a:extLst>
                </a:gridCol>
                <a:gridCol w="1209570">
                  <a:extLst>
                    <a:ext uri="{9D8B030D-6E8A-4147-A177-3AD203B41FA5}">
                      <a16:colId xmlns:a16="http://schemas.microsoft.com/office/drawing/2014/main" val="4269513574"/>
                    </a:ext>
                  </a:extLst>
                </a:gridCol>
              </a:tblGrid>
              <a:tr h="6011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Наименование документа  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учителей, заполняющих документ </a:t>
                      </a: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377942"/>
                  </a:ext>
                </a:extLst>
              </a:tr>
              <a:tr h="2178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Рабочая программа по учебному предмету (в т.ч. элективным курсам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96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75453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Журнал учета успеваем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84,8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899605"/>
                  </a:ext>
                </a:extLst>
              </a:tr>
              <a:tr h="219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б успеваем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80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244212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Характеристика на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7,9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365479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Рабочие программы курсов внеурочной деятельн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6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2565376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План воспитательной работы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5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1854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ортфолио учителя, документы для аттестаци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5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08850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Социальный паспорт класс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5,0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034368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инструктажей по технике безопасн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3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712831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Сведения о родителях обучающихся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0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495877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ёт об исполнении учебной программы по преподаваемому предмету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0,4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57661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 посещаемости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818028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нализ воспитательной работы учителя – классного руководител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7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331160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 выполнении ВПР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6,3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9510933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протоколов родительских собраний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3,4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30843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Журнал внеурочной деятельност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</a:rPr>
                        <a:t>61,9</a:t>
                      </a:r>
                      <a:endParaRPr lang="ru-RU" sz="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247686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еализации плана воспитательной работы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4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5572660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аботе с отстающими обучающими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1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909314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рограмма работы с отстающими обучающими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0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827558"/>
                  </a:ext>
                </a:extLst>
              </a:tr>
              <a:tr h="2971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внеурочной деятельности (олимпиады, конкурсы, иные мероприятия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9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674766"/>
                  </a:ext>
                </a:extLst>
              </a:tr>
              <a:tr h="2971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униципального органа управления образованием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1753392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занятости обучающихся в каникулярный период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7,8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021102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Рабочая программа воспитани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7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781401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формация по итогам проведенных мероприятий, участии в акциях и др.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6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411591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Табель учета питания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6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573651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нализ результатов ОГЭ, ЕГЭ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4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900344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8F00512A-7D9C-DC62-1903-D2F8FBEED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4967537"/>
              </p:ext>
            </p:extLst>
          </p:nvPr>
        </p:nvGraphicFramePr>
        <p:xfrm>
          <a:off x="6096000" y="1523873"/>
          <a:ext cx="5937726" cy="51878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27032">
                  <a:extLst>
                    <a:ext uri="{9D8B030D-6E8A-4147-A177-3AD203B41FA5}">
                      <a16:colId xmlns:a16="http://schemas.microsoft.com/office/drawing/2014/main" val="1199023153"/>
                    </a:ext>
                  </a:extLst>
                </a:gridCol>
                <a:gridCol w="1310694">
                  <a:extLst>
                    <a:ext uri="{9D8B030D-6E8A-4147-A177-3AD203B41FA5}">
                      <a16:colId xmlns:a16="http://schemas.microsoft.com/office/drawing/2014/main" val="2871991258"/>
                    </a:ext>
                  </a:extLst>
                </a:gridCol>
              </a:tblGrid>
              <a:tr h="55989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документа </a:t>
                      </a: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учителей, заполняющих документ </a:t>
                      </a: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633686"/>
                  </a:ext>
                </a:extLst>
              </a:tr>
              <a:tr h="3142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формация о работе с обучающимися, состоящими на внутришкольном профилактическом учете и учете в ПДН УВД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43,9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65901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работы с обучающимися с ОВЗ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8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30004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дивидуальные карты занятости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7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872746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протоколов классных часов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7,3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85715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ы по подготовке к ОГЭ, ЕГЭ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7,0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360773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работы с одаренными детьм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6,1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984006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кты обследования жилищно-бытовых условий семьи несовершеннолетнего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4,8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74098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егионального органа управления образованием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3,9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357066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Бумажный журнал успеваемост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1,7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7814896"/>
                  </a:ext>
                </a:extLst>
              </a:tr>
              <a:tr h="4803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проведением экскурсий (маршрутные листы, медицинские справки, сведения о транспорте и др.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1,3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625548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эпидемиологической ситуацией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0,9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094059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аботе с обучающимися с ОВЗ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0,7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16116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Отчет о работе с одаренными детьм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396032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рограмма развития универсальных учебных действий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7,7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332010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Карты индивидуального сопровождения обучающихся различных групп учет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5,4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615683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федерального органа управления  и контроля в сфере образовани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4,0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25630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подготовки обучающихся к участию в олимпиадах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22,6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54485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Самоанализ воспитательного компонента урок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1,1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55993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оспотребнадзор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0,3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600342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Мониторинг по патриотическому воспитанию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16,6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170001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ЧС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14,4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5533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ые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,2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945839"/>
                  </a:ext>
                </a:extLst>
              </a:tr>
            </a:tbl>
          </a:graphicData>
        </a:graphic>
      </p:graphicFrame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CA8A26C7-4B99-E2EE-447A-AF2A05FD150A}"/>
              </a:ext>
            </a:extLst>
          </p:cNvPr>
          <p:cNvSpPr/>
          <p:nvPr/>
        </p:nvSpPr>
        <p:spPr>
          <a:xfrm>
            <a:off x="1561385" y="382192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ОКУМЕНТАЦИЯ УЧИТЕЛЯ   </a:t>
            </a:r>
          </a:p>
        </p:txBody>
      </p:sp>
    </p:spTree>
    <p:extLst>
      <p:ext uri="{BB962C8B-B14F-4D97-AF65-F5344CB8AC3E}">
        <p14:creationId xmlns:p14="http://schemas.microsoft.com/office/powerpoint/2010/main" val="3424957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EC3B7963-4013-ADC9-AF0E-3275EF8662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9340624"/>
              </p:ext>
            </p:extLst>
          </p:nvPr>
        </p:nvGraphicFramePr>
        <p:xfrm>
          <a:off x="134472" y="1408503"/>
          <a:ext cx="5672695" cy="53124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5431">
                  <a:extLst>
                    <a:ext uri="{9D8B030D-6E8A-4147-A177-3AD203B41FA5}">
                      <a16:colId xmlns:a16="http://schemas.microsoft.com/office/drawing/2014/main" val="3619872456"/>
                    </a:ext>
                  </a:extLst>
                </a:gridCol>
                <a:gridCol w="4445648">
                  <a:extLst>
                    <a:ext uri="{9D8B030D-6E8A-4147-A177-3AD203B41FA5}">
                      <a16:colId xmlns:a16="http://schemas.microsoft.com/office/drawing/2014/main" val="204692504"/>
                    </a:ext>
                  </a:extLst>
                </a:gridCol>
                <a:gridCol w="951616">
                  <a:extLst>
                    <a:ext uri="{9D8B030D-6E8A-4147-A177-3AD203B41FA5}">
                      <a16:colId xmlns:a16="http://schemas.microsoft.com/office/drawing/2014/main" val="443663958"/>
                    </a:ext>
                  </a:extLst>
                </a:gridCol>
              </a:tblGrid>
              <a:tr h="499645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№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</a:rPr>
                        <a:t>Документ</a:t>
                      </a:r>
                      <a:endParaRPr lang="ru-RU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510078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езультаты мониторинга (заполняется два раза в го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81,2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039389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оспитательно-образовательной рабо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78,5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94760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3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абель посещаем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7,7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302764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ведения о родителях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6,80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005686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5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ротоколы родительских собрани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4,8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333498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6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посещаемости детей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4,56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18313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7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родителями (законными представителями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2,2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88071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ерспективное планирование образовательной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2,1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52339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9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утренний фильтр (указывается  температура и осмотр ребёнк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0,8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62905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Комплексно-тематическое планирование образовательной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0,0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827874"/>
                  </a:ext>
                </a:extLst>
              </a:tr>
              <a:tr h="360128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оспитательно-образовательной деятельности на летний оздоровительный период (ЛОП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7,9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759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Тетрадь по самообразованию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5,0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078730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семьями на учебный год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5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967625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4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асписание непрерывной образовательной деятельности (НО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5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59362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5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учёта использования бактерицидной лам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2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95323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спорт груп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0,9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38744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7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с доверенностями на лиц, имеющих право забирать ребенка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58,4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39890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ежим дня детей (на тёплый и холодный периоды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56,1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147151"/>
                  </a:ext>
                </a:extLst>
              </a:tr>
              <a:tr h="2080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9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Учебный план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53,8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439119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работы по правилам дорожного движения (ПД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8,7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531194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21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Договор родительского соглас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7,7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45433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с инструкциями по охране жизни и здоровья дете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6,7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4689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оциальный паспорт груп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5,67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63820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индивидуальной работы с деть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5,2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434791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смены воды (указывается питьевой режим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9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878605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ст адаптации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3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471107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ст (</a:t>
                      </a:r>
                      <a:r>
                        <a:rPr lang="ru-RU" sz="800" dirty="0" err="1">
                          <a:effectLst/>
                        </a:rPr>
                        <a:t>паспотрт</a:t>
                      </a:r>
                      <a:r>
                        <a:rPr lang="ru-RU" sz="800" dirty="0">
                          <a:effectLst/>
                        </a:rPr>
                        <a:t>) здоровья дете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09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074238"/>
                  </a:ext>
                </a:extLst>
              </a:tr>
            </a:tbl>
          </a:graphicData>
        </a:graphic>
      </p:graphicFrame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BD7F046-EDC7-3C0D-580B-B24A02A86D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623174"/>
              </p:ext>
            </p:extLst>
          </p:nvPr>
        </p:nvGraphicFramePr>
        <p:xfrm>
          <a:off x="5986244" y="1408794"/>
          <a:ext cx="6071284" cy="53263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846">
                  <a:extLst>
                    <a:ext uri="{9D8B030D-6E8A-4147-A177-3AD203B41FA5}">
                      <a16:colId xmlns:a16="http://schemas.microsoft.com/office/drawing/2014/main" val="1079184871"/>
                    </a:ext>
                  </a:extLst>
                </a:gridCol>
                <a:gridCol w="4824248">
                  <a:extLst>
                    <a:ext uri="{9D8B030D-6E8A-4147-A177-3AD203B41FA5}">
                      <a16:colId xmlns:a16="http://schemas.microsoft.com/office/drawing/2014/main" val="1849455953"/>
                    </a:ext>
                  </a:extLst>
                </a:gridCol>
                <a:gridCol w="919190">
                  <a:extLst>
                    <a:ext uri="{9D8B030D-6E8A-4147-A177-3AD203B41FA5}">
                      <a16:colId xmlns:a16="http://schemas.microsoft.com/office/drawing/2014/main" val="3641868477"/>
                    </a:ext>
                  </a:extLst>
                </a:gridCol>
              </a:tblGrid>
              <a:tr h="466955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№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</a:rPr>
                        <a:t>Документ</a:t>
                      </a:r>
                      <a:endParaRPr lang="ru-RU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528786"/>
                  </a:ext>
                </a:extLst>
              </a:tr>
              <a:tr h="15954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effectLst/>
                          <a:latin typeface="+mn-lt"/>
                        </a:rPr>
                        <a:t>28</a:t>
                      </a:r>
                      <a:endParaRPr lang="ru-RU" sz="9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 влажных уборок и проветривания 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,90%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422244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Иные докумен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1,25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843757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физкультурно-оздоровительной рабо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9,3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64154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обработки игрушек и игрового оборудован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9,35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06788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на карантин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8,1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7402200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осмотра на педикулёз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6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174884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осмотра территории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49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44869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т посадки за стола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4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2623357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Карта развития ребенка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6,1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7619570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закаливан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5,9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477019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ведения о неблагополучных семьях, план работы с неблагополучными семья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4,56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622441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Ежедневный режим двигательной активности в организованных видах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3,5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664238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етрадь осмотра кожи и зева детей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3,2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695495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етрадь стула детей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3,0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18595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Социально-демографические паспорта семей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2,5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513752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оложение о групповом родительском комитете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1,7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094344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социальными партнера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28,8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475660"/>
                  </a:ext>
                </a:extLst>
              </a:tr>
              <a:tr h="40602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взаимодействия воспитателя группы компенсирующей направленности со специалистами (учитель-логопед, музыкальный руководитель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8,61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994309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ротоколы заседаний родительских клубов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5,5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8092387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Безопасный маршрут «Дом-детский сад-дом (для старшей группы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4,0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203527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лан клубно – кружковой деятельности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3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373727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Анкеты прогноза адаптации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1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266366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Дневник группы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1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63659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Социально-биологический анамнез (анкета –опросник)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7,74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06066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Карты нервно-психического развития (НПР)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6,19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41179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Тетрадь посещений на дому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3,6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479790"/>
                  </a:ext>
                </a:extLst>
              </a:tr>
            </a:tbl>
          </a:graphicData>
        </a:graphic>
      </p:graphicFrame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811719B1-436F-A030-73E0-83846B9F7F2B}"/>
              </a:ext>
            </a:extLst>
          </p:cNvPr>
          <p:cNvSpPr/>
          <p:nvPr/>
        </p:nvSpPr>
        <p:spPr>
          <a:xfrm>
            <a:off x="1561385" y="382192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ОКУМЕНТАЦИЯ ВОСПИТАТЕЛЯ  </a:t>
            </a:r>
          </a:p>
        </p:txBody>
      </p:sp>
    </p:spTree>
    <p:extLst>
      <p:ext uri="{BB962C8B-B14F-4D97-AF65-F5344CB8AC3E}">
        <p14:creationId xmlns:p14="http://schemas.microsoft.com/office/powerpoint/2010/main" val="14770004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698207" y="398668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АНАЛИЗ СИТУАЦИИ </a:t>
            </a:r>
          </a:p>
        </p:txBody>
      </p:sp>
      <p:graphicFrame>
        <p:nvGraphicFramePr>
          <p:cNvPr id="11" name="Объект 3">
            <a:extLst>
              <a:ext uri="{FF2B5EF4-FFF2-40B4-BE49-F238E27FC236}">
                <a16:creationId xmlns:a16="http://schemas.microsoft.com/office/drawing/2014/main" id="{95997A1E-F72D-C301-5D82-22A35FB078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9995460"/>
              </p:ext>
            </p:extLst>
          </p:nvPr>
        </p:nvGraphicFramePr>
        <p:xfrm>
          <a:off x="1315616" y="1726719"/>
          <a:ext cx="3857005" cy="2070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Схема 11">
            <a:extLst>
              <a:ext uri="{FF2B5EF4-FFF2-40B4-BE49-F238E27FC236}">
                <a16:creationId xmlns:a16="http://schemas.microsoft.com/office/drawing/2014/main" id="{57C49690-25B7-FAC6-A44C-DCEC38F3BBDE}"/>
              </a:ext>
            </a:extLst>
          </p:cNvPr>
          <p:cNvGraphicFramePr/>
          <p:nvPr/>
        </p:nvGraphicFramePr>
        <p:xfrm>
          <a:off x="5324442" y="2276254"/>
          <a:ext cx="3512431" cy="3377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7A4A1D7-F5C3-F63A-0038-958B8EEE8640}"/>
              </a:ext>
            </a:extLst>
          </p:cNvPr>
          <p:cNvSpPr txBox="1"/>
          <p:nvPr/>
        </p:nvSpPr>
        <p:spPr>
          <a:xfrm>
            <a:off x="8948514" y="3512572"/>
            <a:ext cx="1814059" cy="77777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27" dirty="0"/>
              <a:t>Отчетность </a:t>
            </a:r>
          </a:p>
          <a:p>
            <a:pPr algn="ctr"/>
            <a:r>
              <a:rPr lang="ru-RU" sz="2227" dirty="0"/>
              <a:t>«про запас»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65C4DC-9FC0-A97C-BB69-4D1A39EB7E36}"/>
              </a:ext>
            </a:extLst>
          </p:cNvPr>
          <p:cNvSpPr txBox="1"/>
          <p:nvPr/>
        </p:nvSpPr>
        <p:spPr>
          <a:xfrm>
            <a:off x="5284262" y="2035579"/>
            <a:ext cx="2898870" cy="4350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227" b="1" dirty="0">
                <a:solidFill>
                  <a:srgbClr val="423D67"/>
                </a:solidFill>
              </a:rPr>
              <a:t>5 пилотных регионов</a:t>
            </a:r>
            <a:r>
              <a:rPr lang="ru-RU" sz="2227" dirty="0">
                <a:solidFill>
                  <a:srgbClr val="FFFF00"/>
                </a:solidFill>
              </a:rPr>
              <a:t> 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:a16="http://schemas.microsoft.com/office/drawing/2014/main" id="{C8A0FDE6-7847-26EB-58BB-670115D8EC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2444515"/>
              </p:ext>
            </p:extLst>
          </p:nvPr>
        </p:nvGraphicFramePr>
        <p:xfrm>
          <a:off x="1487902" y="4388492"/>
          <a:ext cx="3512431" cy="2070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7E6A8CF-961C-DE69-D1A2-7276B65292A2}"/>
              </a:ext>
            </a:extLst>
          </p:cNvPr>
          <p:cNvSpPr txBox="1"/>
          <p:nvPr/>
        </p:nvSpPr>
        <p:spPr>
          <a:xfrm>
            <a:off x="1502229" y="1212932"/>
            <a:ext cx="2761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Федеральный уровень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DBAEF8-6247-8A35-AF13-99DBC740C6D8}"/>
              </a:ext>
            </a:extLst>
          </p:cNvPr>
          <p:cNvSpPr txBox="1"/>
          <p:nvPr/>
        </p:nvSpPr>
        <p:spPr>
          <a:xfrm>
            <a:off x="1493165" y="3964791"/>
            <a:ext cx="2516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егиональный уровень </a:t>
            </a:r>
          </a:p>
        </p:txBody>
      </p:sp>
    </p:spTree>
    <p:extLst>
      <p:ext uri="{BB962C8B-B14F-4D97-AF65-F5344CB8AC3E}">
        <p14:creationId xmlns:p14="http://schemas.microsoft.com/office/powerpoint/2010/main" val="19102304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УБЛИРОВАНИЕ ЗАПРОСОВ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65CF273-BDA9-ACC9-B355-3C68A2F45517}"/>
              </a:ext>
            </a:extLst>
          </p:cNvPr>
          <p:cNvGrpSpPr/>
          <p:nvPr/>
        </p:nvGrpSpPr>
        <p:grpSpPr>
          <a:xfrm>
            <a:off x="2153583" y="1176878"/>
            <a:ext cx="7821999" cy="4927982"/>
            <a:chOff x="1413337" y="1834785"/>
            <a:chExt cx="12194714" cy="7682861"/>
          </a:xfrm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73EF32AD-5B5A-C36C-E266-4912584F6BB8}"/>
                </a:ext>
              </a:extLst>
            </p:cNvPr>
            <p:cNvGrpSpPr/>
            <p:nvPr/>
          </p:nvGrpSpPr>
          <p:grpSpPr>
            <a:xfrm>
              <a:off x="8706194" y="1834785"/>
              <a:ext cx="4901857" cy="6869062"/>
              <a:chOff x="4762753" y="2110324"/>
              <a:chExt cx="5304881" cy="7433827"/>
            </a:xfrm>
          </p:grpSpPr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9984C098-3846-C488-DE41-50E983976E3A}"/>
                  </a:ext>
                </a:extLst>
              </p:cNvPr>
              <p:cNvSpPr/>
              <p:nvPr/>
            </p:nvSpPr>
            <p:spPr>
              <a:xfrm>
                <a:off x="4762753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D440173A-7E74-F7D2-58E4-4C3B2CC94F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/>
              <a:stretch/>
            </p:blipFill>
            <p:spPr>
              <a:xfrm>
                <a:off x="4868769" y="2110324"/>
                <a:ext cx="5198865" cy="7351782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296013E-5F10-759C-A56E-6EDD7D0FA591}"/>
                </a:ext>
              </a:extLst>
            </p:cNvPr>
            <p:cNvGrpSpPr/>
            <p:nvPr/>
          </p:nvGrpSpPr>
          <p:grpSpPr>
            <a:xfrm>
              <a:off x="5060591" y="2242852"/>
              <a:ext cx="4900206" cy="6866726"/>
              <a:chOff x="7876804" y="2112852"/>
              <a:chExt cx="5303094" cy="7431299"/>
            </a:xfrm>
          </p:grpSpPr>
          <p:sp>
            <p:nvSpPr>
              <p:cNvPr id="7" name="Прямоугольник 6">
                <a:extLst>
                  <a:ext uri="{FF2B5EF4-FFF2-40B4-BE49-F238E27FC236}">
                    <a16:creationId xmlns:a16="http://schemas.microsoft.com/office/drawing/2014/main" id="{5237AB22-0FE3-51A8-187F-A28F3B1E42BB}"/>
                  </a:ext>
                </a:extLst>
              </p:cNvPr>
              <p:cNvSpPr/>
              <p:nvPr/>
            </p:nvSpPr>
            <p:spPr>
              <a:xfrm>
                <a:off x="787680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3" name="Рисунок 2">
                <a:extLst>
                  <a:ext uri="{FF2B5EF4-FFF2-40B4-BE49-F238E27FC236}">
                    <a16:creationId xmlns:a16="http://schemas.microsoft.com/office/drawing/2014/main" id="{1722B408-4355-F7BA-3C3F-5D83C6C9C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/>
              <a:stretch/>
            </p:blipFill>
            <p:spPr>
              <a:xfrm>
                <a:off x="7984609" y="2112852"/>
                <a:ext cx="5195289" cy="7346725"/>
              </a:xfrm>
              <a:prstGeom prst="rect">
                <a:avLst/>
              </a:prstGeom>
              <a:ln w="22225">
                <a:solidFill>
                  <a:srgbClr val="CDCDEB"/>
                </a:solidFill>
              </a:ln>
            </p:spPr>
          </p:pic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905DB3F2-87CD-2986-6EB8-D886A97A2EDF}"/>
                </a:ext>
              </a:extLst>
            </p:cNvPr>
            <p:cNvGrpSpPr/>
            <p:nvPr/>
          </p:nvGrpSpPr>
          <p:grpSpPr>
            <a:xfrm>
              <a:off x="1413337" y="2648583"/>
              <a:ext cx="4901857" cy="6869063"/>
              <a:chOff x="1834024" y="2110323"/>
              <a:chExt cx="5304881" cy="7433828"/>
            </a:xfrm>
          </p:grpSpPr>
          <p:sp>
            <p:nvSpPr>
              <p:cNvPr id="6" name="Прямоугольник 5">
                <a:extLst>
                  <a:ext uri="{FF2B5EF4-FFF2-40B4-BE49-F238E27FC236}">
                    <a16:creationId xmlns:a16="http://schemas.microsoft.com/office/drawing/2014/main" id="{1CB52054-38E1-BDF1-0376-39A613579386}"/>
                  </a:ext>
                </a:extLst>
              </p:cNvPr>
              <p:cNvSpPr/>
              <p:nvPr/>
            </p:nvSpPr>
            <p:spPr>
              <a:xfrm>
                <a:off x="183402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id="{B23730FE-503D-F6E1-B25C-9CF3264CF7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/>
              <a:stretch/>
            </p:blipFill>
            <p:spPr>
              <a:xfrm>
                <a:off x="1940040" y="2110323"/>
                <a:ext cx="5198865" cy="7351784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852705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амка</Template>
  <TotalTime>6740</TotalTime>
  <Words>2085</Words>
  <Application>Microsoft Macintosh PowerPoint</Application>
  <PresentationFormat>Широкоэкранный</PresentationFormat>
  <Paragraphs>702</Paragraphs>
  <Slides>2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Symbol</vt:lpstr>
      <vt:lpstr>Times New Roman</vt:lpstr>
      <vt:lpstr>1_Тема Offic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общенные результаты апробации аккредитационного мониторинга</dc:title>
  <dc:creator>Наталья Алтыникова</dc:creator>
  <cp:lastModifiedBy>Microsoft Office User</cp:lastModifiedBy>
  <cp:revision>38</cp:revision>
  <cp:lastPrinted>2023-07-21T06:08:21Z</cp:lastPrinted>
  <dcterms:created xsi:type="dcterms:W3CDTF">2022-09-25T11:38:47Z</dcterms:created>
  <dcterms:modified xsi:type="dcterms:W3CDTF">2023-07-21T12:06:25Z</dcterms:modified>
</cp:coreProperties>
</file>